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261" r:id="rId2"/>
    <p:sldId id="271" r:id="rId3"/>
    <p:sldId id="308" r:id="rId4"/>
    <p:sldId id="309" r:id="rId5"/>
    <p:sldId id="268" r:id="rId6"/>
    <p:sldId id="263" r:id="rId7"/>
    <p:sldId id="269" r:id="rId8"/>
    <p:sldId id="265" r:id="rId9"/>
    <p:sldId id="266" r:id="rId10"/>
    <p:sldId id="267" r:id="rId11"/>
    <p:sldId id="270" r:id="rId12"/>
    <p:sldId id="272" r:id="rId13"/>
    <p:sldId id="274" r:id="rId14"/>
    <p:sldId id="275" r:id="rId15"/>
    <p:sldId id="273" r:id="rId16"/>
    <p:sldId id="280" r:id="rId17"/>
    <p:sldId id="276" r:id="rId18"/>
    <p:sldId id="277" r:id="rId19"/>
    <p:sldId id="279" r:id="rId20"/>
    <p:sldId id="281" r:id="rId21"/>
    <p:sldId id="283" r:id="rId22"/>
    <p:sldId id="284" r:id="rId23"/>
    <p:sldId id="285" r:id="rId24"/>
    <p:sldId id="311" r:id="rId25"/>
    <p:sldId id="286" r:id="rId26"/>
    <p:sldId id="287" r:id="rId27"/>
    <p:sldId id="289" r:id="rId28"/>
    <p:sldId id="290" r:id="rId29"/>
    <p:sldId id="312" r:id="rId30"/>
    <p:sldId id="291" r:id="rId31"/>
    <p:sldId id="293" r:id="rId32"/>
    <p:sldId id="294" r:id="rId33"/>
    <p:sldId id="295" r:id="rId34"/>
    <p:sldId id="296" r:id="rId35"/>
    <p:sldId id="298" r:id="rId36"/>
    <p:sldId id="297" r:id="rId37"/>
    <p:sldId id="299" r:id="rId38"/>
    <p:sldId id="300" r:id="rId39"/>
    <p:sldId id="301" r:id="rId40"/>
    <p:sldId id="302" r:id="rId41"/>
    <p:sldId id="303" r:id="rId42"/>
    <p:sldId id="304" r:id="rId43"/>
    <p:sldId id="305" r:id="rId44"/>
    <p:sldId id="306" r:id="rId45"/>
    <p:sldId id="310" r:id="rId46"/>
    <p:sldId id="307" r:id="rId47"/>
  </p:sldIdLst>
  <p:sldSz cx="9144000" cy="6858000" type="screen4x3"/>
  <p:notesSz cx="6858000" cy="9144000"/>
  <p:defaultTextStyle>
    <a:defPPr>
      <a:defRPr lang="sr-Latn-C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AAC"/>
    <a:srgbClr val="0A238C"/>
    <a:srgbClr val="0B28A1"/>
    <a:srgbClr val="112A71"/>
    <a:srgbClr val="122E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2F1F5C-953B-4B27-8C98-059E77C1F1CC}" v="1131" dt="2019-06-06T11:00:54.9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0036" autoAdjust="0"/>
  </p:normalViewPr>
  <p:slideViewPr>
    <p:cSldViewPr>
      <p:cViewPr varScale="1">
        <p:scale>
          <a:sx n="74" d="100"/>
          <a:sy n="74" d="100"/>
        </p:scale>
        <p:origin x="87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1" d="100"/>
          <a:sy n="91" d="100"/>
        </p:scale>
        <p:origin x="3756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geotehnicki.local\gsroot$\Users\PSisa\RADNI\8756_ZABOK_ZAPRESIC\DPH\8756_DPH_2018081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273799081710668"/>
          <c:y val="9.6605575357523524E-2"/>
          <c:w val="0.71981154765271516"/>
          <c:h val="0.81266498681772348"/>
        </c:manualLayout>
      </c:layout>
      <c:scatterChart>
        <c:scatterStyle val="lineMarker"/>
        <c:varyColors val="0"/>
        <c:ser>
          <c:idx val="0"/>
          <c:order val="0"/>
          <c:tx>
            <c:strRef>
              <c:f>'DP-22 14+350'!$BI$63:$BI$64</c:f>
              <c:strCache>
                <c:ptCount val="2"/>
                <c:pt idx="0">
                  <c:v>BROJ UDARACA / NUMBER OF BLOWS N10</c:v>
                </c:pt>
              </c:strCache>
            </c:strRef>
          </c:tx>
          <c:spPr>
            <a:ln w="12700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DP-22 14+350'!$BI$65:$BI$94</c:f>
              <c:numCache>
                <c:formatCode>General</c:formatCode>
                <c:ptCount val="30"/>
                <c:pt idx="0">
                  <c:v>0.33300000000000002</c:v>
                </c:pt>
                <c:pt idx="1">
                  <c:v>0.33300000000000002</c:v>
                </c:pt>
                <c:pt idx="2">
                  <c:v>0.33300000000000002</c:v>
                </c:pt>
                <c:pt idx="3">
                  <c:v>1</c:v>
                </c:pt>
                <c:pt idx="4">
                  <c:v>3</c:v>
                </c:pt>
                <c:pt idx="5">
                  <c:v>0.5</c:v>
                </c:pt>
                <c:pt idx="6">
                  <c:v>0.5</c:v>
                </c:pt>
                <c:pt idx="7">
                  <c:v>0.33300000000000002</c:v>
                </c:pt>
                <c:pt idx="8">
                  <c:v>0.33300000000000002</c:v>
                </c:pt>
                <c:pt idx="9">
                  <c:v>0.33300000000000002</c:v>
                </c:pt>
                <c:pt idx="10">
                  <c:v>0.5</c:v>
                </c:pt>
                <c:pt idx="11">
                  <c:v>0.5</c:v>
                </c:pt>
                <c:pt idx="12">
                  <c:v>1</c:v>
                </c:pt>
                <c:pt idx="13">
                  <c:v>0.5</c:v>
                </c:pt>
                <c:pt idx="14">
                  <c:v>0.5</c:v>
                </c:pt>
                <c:pt idx="15">
                  <c:v>0.33300000000000002</c:v>
                </c:pt>
                <c:pt idx="16">
                  <c:v>0.33300000000000002</c:v>
                </c:pt>
                <c:pt idx="17">
                  <c:v>0.33300000000000002</c:v>
                </c:pt>
                <c:pt idx="18">
                  <c:v>0.5</c:v>
                </c:pt>
                <c:pt idx="19">
                  <c:v>0.5</c:v>
                </c:pt>
                <c:pt idx="20">
                  <c:v>0.5</c:v>
                </c:pt>
                <c:pt idx="21">
                  <c:v>0.5</c:v>
                </c:pt>
                <c:pt idx="22">
                  <c:v>0.5</c:v>
                </c:pt>
                <c:pt idx="23">
                  <c:v>0.5</c:v>
                </c:pt>
                <c:pt idx="24">
                  <c:v>4</c:v>
                </c:pt>
                <c:pt idx="25">
                  <c:v>21</c:v>
                </c:pt>
                <c:pt idx="26">
                  <c:v>24</c:v>
                </c:pt>
                <c:pt idx="27">
                  <c:v>41</c:v>
                </c:pt>
                <c:pt idx="28">
                  <c:v>44</c:v>
                </c:pt>
                <c:pt idx="29">
                  <c:v>77</c:v>
                </c:pt>
              </c:numCache>
            </c:numRef>
          </c:xVal>
          <c:yVal>
            <c:numRef>
              <c:f>'DP-22 14+350'!$BH$65:$BH$94</c:f>
              <c:numCache>
                <c:formatCode>General</c:formatCode>
                <c:ptCount val="30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  <c:pt idx="6">
                  <c:v>0.7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  <c:pt idx="10">
                  <c:v>1.1000000000000001</c:v>
                </c:pt>
                <c:pt idx="11">
                  <c:v>1.2</c:v>
                </c:pt>
                <c:pt idx="12">
                  <c:v>1.3</c:v>
                </c:pt>
                <c:pt idx="13">
                  <c:v>1.4</c:v>
                </c:pt>
                <c:pt idx="14">
                  <c:v>1.5</c:v>
                </c:pt>
                <c:pt idx="15">
                  <c:v>1.6</c:v>
                </c:pt>
                <c:pt idx="16">
                  <c:v>1.7</c:v>
                </c:pt>
                <c:pt idx="17">
                  <c:v>1.8</c:v>
                </c:pt>
                <c:pt idx="18">
                  <c:v>1.9</c:v>
                </c:pt>
                <c:pt idx="19">
                  <c:v>2</c:v>
                </c:pt>
                <c:pt idx="20">
                  <c:v>2.1</c:v>
                </c:pt>
                <c:pt idx="21">
                  <c:v>2.2000000000000002</c:v>
                </c:pt>
                <c:pt idx="22">
                  <c:v>2.2999999999999998</c:v>
                </c:pt>
                <c:pt idx="23">
                  <c:v>2.4</c:v>
                </c:pt>
                <c:pt idx="24">
                  <c:v>2.5</c:v>
                </c:pt>
                <c:pt idx="25">
                  <c:v>2.6</c:v>
                </c:pt>
                <c:pt idx="26">
                  <c:v>2.7</c:v>
                </c:pt>
                <c:pt idx="27">
                  <c:v>2.8</c:v>
                </c:pt>
                <c:pt idx="28">
                  <c:v>2.9</c:v>
                </c:pt>
                <c:pt idx="29">
                  <c:v>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3CA-4CBA-81B9-59ACEB251101}"/>
            </c:ext>
          </c:extLst>
        </c:ser>
        <c:ser>
          <c:idx val="1"/>
          <c:order val="1"/>
          <c:tx>
            <c:strRef>
              <c:f>'DP-22 14+350'!$BJ$63:$BJ$64</c:f>
              <c:strCache>
                <c:ptCount val="2"/>
                <c:pt idx="0">
                  <c:v>KORIGIRANI BROJ UDARACA / CORRECTED NUMBER OF BLOWS</c:v>
                </c:pt>
              </c:strCache>
            </c:strRef>
          </c:tx>
          <c:spPr>
            <a:ln w="12700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DP-22 14+350'!$BJ$65:$BJ$94</c:f>
              <c:numCache>
                <c:formatCode>0.00</c:formatCode>
                <c:ptCount val="30"/>
                <c:pt idx="0">
                  <c:v>0.30686238532110094</c:v>
                </c:pt>
                <c:pt idx="1">
                  <c:v>0.30686238532110094</c:v>
                </c:pt>
                <c:pt idx="2">
                  <c:v>0.30686238532110094</c:v>
                </c:pt>
                <c:pt idx="3">
                  <c:v>0.92150866462793068</c:v>
                </c:pt>
                <c:pt idx="4">
                  <c:v>2.7645259938837921</c:v>
                </c:pt>
                <c:pt idx="5">
                  <c:v>0.46075433231396534</c:v>
                </c:pt>
                <c:pt idx="6">
                  <c:v>0.46075433231396534</c:v>
                </c:pt>
                <c:pt idx="7">
                  <c:v>0.30686238532110094</c:v>
                </c:pt>
                <c:pt idx="8">
                  <c:v>0.30686238532110094</c:v>
                </c:pt>
                <c:pt idx="9">
                  <c:v>0.30686238532110094</c:v>
                </c:pt>
                <c:pt idx="10">
                  <c:v>0.46075433231396534</c:v>
                </c:pt>
                <c:pt idx="11">
                  <c:v>0.46075433231396534</c:v>
                </c:pt>
                <c:pt idx="12">
                  <c:v>0.92150866462793068</c:v>
                </c:pt>
                <c:pt idx="13">
                  <c:v>0.46075433231396534</c:v>
                </c:pt>
                <c:pt idx="14">
                  <c:v>0.46075433231396534</c:v>
                </c:pt>
                <c:pt idx="15">
                  <c:v>0.30686238532110094</c:v>
                </c:pt>
                <c:pt idx="16">
                  <c:v>0.30686238532110094</c:v>
                </c:pt>
                <c:pt idx="17">
                  <c:v>0.30686238532110094</c:v>
                </c:pt>
                <c:pt idx="18">
                  <c:v>0.46075433231396534</c:v>
                </c:pt>
                <c:pt idx="19">
                  <c:v>0.46075433231396534</c:v>
                </c:pt>
                <c:pt idx="20">
                  <c:v>0.46075433231396534</c:v>
                </c:pt>
                <c:pt idx="21">
                  <c:v>0.46075433231396534</c:v>
                </c:pt>
                <c:pt idx="22">
                  <c:v>0.46075433231396534</c:v>
                </c:pt>
                <c:pt idx="23">
                  <c:v>0.46075433231396534</c:v>
                </c:pt>
                <c:pt idx="24">
                  <c:v>3.6860346585117227</c:v>
                </c:pt>
                <c:pt idx="25">
                  <c:v>19.351681957186543</c:v>
                </c:pt>
                <c:pt idx="26">
                  <c:v>22.116207951070336</c:v>
                </c:pt>
                <c:pt idx="27">
                  <c:v>37.781855249745156</c:v>
                </c:pt>
                <c:pt idx="28">
                  <c:v>40.54638124362895</c:v>
                </c:pt>
                <c:pt idx="29">
                  <c:v>70.956167176350661</c:v>
                </c:pt>
              </c:numCache>
            </c:numRef>
          </c:xVal>
          <c:yVal>
            <c:numRef>
              <c:f>'DP-22 14+350'!$BH$65:$BH$94</c:f>
              <c:numCache>
                <c:formatCode>General</c:formatCode>
                <c:ptCount val="30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  <c:pt idx="6">
                  <c:v>0.7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  <c:pt idx="10">
                  <c:v>1.1000000000000001</c:v>
                </c:pt>
                <c:pt idx="11">
                  <c:v>1.2</c:v>
                </c:pt>
                <c:pt idx="12">
                  <c:v>1.3</c:v>
                </c:pt>
                <c:pt idx="13">
                  <c:v>1.4</c:v>
                </c:pt>
                <c:pt idx="14">
                  <c:v>1.5</c:v>
                </c:pt>
                <c:pt idx="15">
                  <c:v>1.6</c:v>
                </c:pt>
                <c:pt idx="16">
                  <c:v>1.7</c:v>
                </c:pt>
                <c:pt idx="17">
                  <c:v>1.8</c:v>
                </c:pt>
                <c:pt idx="18">
                  <c:v>1.9</c:v>
                </c:pt>
                <c:pt idx="19">
                  <c:v>2</c:v>
                </c:pt>
                <c:pt idx="20">
                  <c:v>2.1</c:v>
                </c:pt>
                <c:pt idx="21">
                  <c:v>2.2000000000000002</c:v>
                </c:pt>
                <c:pt idx="22">
                  <c:v>2.2999999999999998</c:v>
                </c:pt>
                <c:pt idx="23">
                  <c:v>2.4</c:v>
                </c:pt>
                <c:pt idx="24">
                  <c:v>2.5</c:v>
                </c:pt>
                <c:pt idx="25">
                  <c:v>2.6</c:v>
                </c:pt>
                <c:pt idx="26">
                  <c:v>2.7</c:v>
                </c:pt>
                <c:pt idx="27">
                  <c:v>2.8</c:v>
                </c:pt>
                <c:pt idx="28">
                  <c:v>2.9</c:v>
                </c:pt>
                <c:pt idx="29">
                  <c:v>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3CA-4CBA-81B9-59ACEB2511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0694096"/>
        <c:axId val="100694656"/>
      </c:scatterChart>
      <c:valAx>
        <c:axId val="100694096"/>
        <c:scaling>
          <c:orientation val="minMax"/>
          <c:max val="50"/>
          <c:min val="0"/>
        </c:scaling>
        <c:delete val="0"/>
        <c:axPos val="t"/>
        <c:majorGridlines>
          <c:spPr>
            <a:ln w="9525" cap="flat" cmpd="sng" algn="ctr">
              <a:solidFill>
                <a:schemeClr val="bg1">
                  <a:lumMod val="6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r-HR" sz="800" b="1">
                    <a:solidFill>
                      <a:sysClr val="windowText" lastClr="000000"/>
                    </a:solidFill>
                  </a:rPr>
                  <a:t>broj udaraca / number of  blows N</a:t>
                </a:r>
                <a:r>
                  <a:rPr lang="hr-HR" sz="800" b="1" strike="noStrike" cap="none" baseline="-25000">
                    <a:solidFill>
                      <a:sysClr val="windowText" lastClr="000000"/>
                    </a:solidFill>
                  </a:rPr>
                  <a:t>10</a:t>
                </a:r>
                <a:r>
                  <a:rPr lang="hr-HR" sz="800" b="1">
                    <a:solidFill>
                      <a:sysClr val="windowText" lastClr="000000"/>
                    </a:solidFill>
                  </a:rPr>
                  <a:t> </a:t>
                </a:r>
              </a:p>
            </c:rich>
          </c:tx>
          <c:layout>
            <c:manualLayout>
              <c:xMode val="edge"/>
              <c:yMode val="edge"/>
              <c:x val="0.30578809757969727"/>
              <c:y val="1.8603101884991646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00694656"/>
        <c:crosses val="autoZero"/>
        <c:crossBetween val="midCat"/>
        <c:majorUnit val="5"/>
      </c:valAx>
      <c:valAx>
        <c:axId val="100694656"/>
        <c:scaling>
          <c:orientation val="maxMin"/>
          <c:max val="4"/>
          <c:min val="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6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r-HR" sz="800" b="1">
                    <a:solidFill>
                      <a:sysClr val="windowText" lastClr="000000"/>
                    </a:solidFill>
                  </a:rPr>
                  <a:t>dubina / depth (m</a:t>
                </a:r>
                <a:r>
                  <a:rPr lang="hr-HR" b="1">
                    <a:solidFill>
                      <a:sysClr val="windowText" lastClr="000000"/>
                    </a:solidFill>
                  </a:rPr>
                  <a:t>)</a:t>
                </a:r>
              </a:p>
            </c:rich>
          </c:tx>
          <c:layout>
            <c:manualLayout>
              <c:xMode val="edge"/>
              <c:yMode val="edge"/>
              <c:x val="4.0809044831259127E-2"/>
              <c:y val="0.3987142190037427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.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00694096"/>
        <c:crosses val="autoZero"/>
        <c:crossBetween val="midCat"/>
        <c:majorUnit val="0.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873146787842266"/>
          <c:y val="0.91939775709854454"/>
          <c:w val="0.75718472606381193"/>
          <c:h val="7.83023246843068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sr-Latn-R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7.wmf"/><Relationship Id="rId1" Type="http://schemas.openxmlformats.org/officeDocument/2006/relationships/image" Target="../media/image6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B4CC671-EDDB-4CEF-B406-A152F8F02B95}" type="datetimeFigureOut">
              <a:rPr lang="sr-Latn-CS"/>
              <a:pPr>
                <a:defRPr/>
              </a:pPr>
              <a:t>13.6.2019</a:t>
            </a:fld>
            <a:endParaRPr lang="hr-H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0B0DFA91-BBD8-4A40-8679-52B83F5E2828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4073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8F97882-A59F-479F-A386-7D5B1B513A03}" type="datetimeFigureOut">
              <a:rPr lang="sr-Latn-CS"/>
              <a:pPr>
                <a:defRPr/>
              </a:pPr>
              <a:t>13.6.2019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r-HR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hr-H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32032C6C-E4E8-4DA8-A996-ACD8E1833339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397569663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r-HR" altLang="sr-Latn-RS"/>
          </a:p>
        </p:txBody>
      </p:sp>
      <p:sp>
        <p:nvSpPr>
          <p:cNvPr id="614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96212A0-EF72-4E55-94C9-A86CBE6E2D52}" type="slidenum">
              <a:rPr lang="hr-HR" altLang="sr-Latn-RS"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180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3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6267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4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40466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5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6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7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8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9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0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hr-HR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r-HR" altLang="sr-Latn-RS"/>
              <a:t>Ime i prezime predavača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59B5C4-5052-48BC-B74C-450AB8A92364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4117395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9318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0125"/>
            <a:ext cx="9144000" cy="107950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1143000" y="142875"/>
            <a:ext cx="7715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altLang="sr-Latn-RS" sz="1400" b="1"/>
              <a:t>HRVATSKA KOMORA INŽENJERA GRAĐEVINARSTVA</a:t>
            </a:r>
            <a:endParaRPr lang="hr-HR" altLang="sr-Latn-RS" sz="1400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1143000" y="457200"/>
            <a:ext cx="7715250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hr-HR" altLang="sr-Latn-RS" sz="1200" b="1">
                <a:solidFill>
                  <a:srgbClr val="7F7F7F"/>
                </a:solidFill>
                <a:cs typeface="Times New Roman" pitchFamily="18" charset="0"/>
              </a:rPr>
              <a:t>DANI OVLAŠTENIH INŽENJERA GRAĐEVINARSTVA</a:t>
            </a:r>
            <a:endParaRPr lang="hr-HR" altLang="sr-Latn-RS" sz="1200">
              <a:solidFill>
                <a:srgbClr val="7F7F7F"/>
              </a:solidFill>
            </a:endParaRPr>
          </a:p>
          <a:p>
            <a:pPr algn="ctr">
              <a:spcAft>
                <a:spcPts val="600"/>
              </a:spcAft>
              <a:defRPr/>
            </a:pPr>
            <a:r>
              <a:rPr lang="hr-HR" altLang="sr-Latn-RS" sz="1200">
                <a:cs typeface="Times New Roman" pitchFamily="18" charset="0"/>
              </a:rPr>
              <a:t>Opatija, 2010.</a:t>
            </a:r>
            <a:endParaRPr lang="hr-HR" altLang="sr-Latn-R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 algn="l">
              <a:defRPr sz="18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540EEC7C-AA2A-4A1B-B288-589E9A700F40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951211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r-HR" altLang="sr-Latn-RS"/>
              <a:t>Ime i prezime predavača</a:t>
            </a:r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742FF3-B87A-45D6-9A3E-D782A254165A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964408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r-HR" altLang="sr-Latn-RS"/>
              <a:t>Ime i prezime predavača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97B197-5111-4B02-8047-EF5F65D3E305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2696357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71119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0" y="0"/>
            <a:ext cx="9144000" cy="1268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797BC521-0E62-4D5D-9132-D041AADD0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 t="-1" b="-1"/>
          <a:stretch/>
        </p:blipFill>
        <p:spPr>
          <a:xfrm>
            <a:off x="8595492" y="187200"/>
            <a:ext cx="405000" cy="38160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xmlns="" id="{DA100859-B97D-4887-834E-2AF3B972CD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3600" y="260649"/>
            <a:ext cx="7466742" cy="778337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ts val="3200"/>
              </a:lnSpc>
              <a:defRPr sz="2400" b="0">
                <a:solidFill>
                  <a:schemeClr val="tx1"/>
                </a:solidFill>
                <a:latin typeface="DB Office" panose="020B0604020202020204" pitchFamily="34" charset="0"/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xmlns="" id="{93D95935-EF8B-44E8-B0A7-10010B3F44E0}"/>
              </a:ext>
            </a:extLst>
          </p:cNvPr>
          <p:cNvSpPr/>
          <p:nvPr userDrawn="1"/>
        </p:nvSpPr>
        <p:spPr bwMode="auto">
          <a:xfrm>
            <a:off x="0" y="1268760"/>
            <a:ext cx="9144000" cy="5182536"/>
          </a:xfrm>
          <a:prstGeom prst="rect">
            <a:avLst/>
          </a:prstGeom>
          <a:solidFill>
            <a:srgbClr val="F0F3F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588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146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image001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6337300"/>
            <a:ext cx="611188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0" y="6308725"/>
            <a:ext cx="9144000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5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381750"/>
            <a:ext cx="5976938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 Narrow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hr-HR" altLang="sr-Latn-RS" dirty="0"/>
              <a:t>Ime i prezime predavača</a:t>
            </a:r>
          </a:p>
        </p:txBody>
      </p:sp>
      <p:sp>
        <p:nvSpPr>
          <p:cNvPr id="1029" name="Rectangle 12"/>
          <p:cNvSpPr>
            <a:spLocks noChangeArrowheads="1"/>
          </p:cNvSpPr>
          <p:nvPr/>
        </p:nvSpPr>
        <p:spPr bwMode="auto">
          <a:xfrm>
            <a:off x="6011863" y="6381750"/>
            <a:ext cx="1944687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hr-HR" altLang="sr-Latn-RS" sz="1400" dirty="0"/>
              <a:t>HKIG – Opatija 2019.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26400" y="6381750"/>
            <a:ext cx="1117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2000" smtClean="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79AD9910-7AB1-46C5-8FA7-ED2DDB5247A5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7" r:id="rId2"/>
    <p:sldLayoutId id="2147483775" r:id="rId3"/>
    <p:sldLayoutId id="2147483776" r:id="rId4"/>
    <p:sldLayoutId id="2147483778" r:id="rId5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5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55.jpeg"/><Relationship Id="rId7" Type="http://schemas.openxmlformats.org/officeDocument/2006/relationships/image" Target="../media/image57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Relationship Id="rId6" Type="http://schemas.microsoft.com/office/2007/relationships/hdphoto" Target="../media/hdphoto3.wdp"/><Relationship Id="rId5" Type="http://schemas.openxmlformats.org/officeDocument/2006/relationships/image" Target="../media/image56.jpeg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5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image" Target="../media/image2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3.JP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5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67.w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6.wmf"/><Relationship Id="rId4" Type="http://schemas.openxmlformats.org/officeDocument/2006/relationships/oleObject" Target="../embeddings/oleObject2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2.jpeg"/><Relationship Id="rId4" Type="http://schemas.openxmlformats.org/officeDocument/2006/relationships/chart" Target="../charts/char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image" Target="../media/image77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4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9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1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2.png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zervirano mjesto datuma 1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>
                <a:latin typeface="Arial Narrow" panose="020B0606020202030204" pitchFamily="34" charset="0"/>
              </a:rPr>
              <a:t>Ime i prezime predavača</a:t>
            </a:r>
          </a:p>
        </p:txBody>
      </p:sp>
      <p:sp>
        <p:nvSpPr>
          <p:cNvPr id="5123" name="Rezervirano mjesto broja slajda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9DE799-DA9D-44F6-BE07-3F637AC10E48}" type="slidenum">
              <a:rPr lang="hr-HR" altLang="sr-Latn-RS">
                <a:latin typeface="Verdana" panose="020B0604030504040204" pitchFamily="34" charset="0"/>
              </a:rPr>
              <a:pPr/>
              <a:t>1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908050"/>
            <a:ext cx="9144000" cy="5949950"/>
          </a:xfrm>
          <a:prstGeom prst="rect">
            <a:avLst/>
          </a:prstGeom>
          <a:solidFill>
            <a:srgbClr val="112A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r-HR"/>
          </a:p>
        </p:txBody>
      </p:sp>
      <p:sp>
        <p:nvSpPr>
          <p:cNvPr id="5125" name="Title 5"/>
          <p:cNvSpPr>
            <a:spLocks noGrp="1"/>
          </p:cNvSpPr>
          <p:nvPr>
            <p:ph type="ctrTitle" idx="4294967295"/>
          </p:nvPr>
        </p:nvSpPr>
        <p:spPr bwMode="auto">
          <a:xfrm>
            <a:off x="0" y="2071688"/>
            <a:ext cx="9144000" cy="147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pl-PL" altLang="sr-Latn-RS" sz="4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ernizacija pruge na dionici Zaprešić - Zabok</a:t>
            </a:r>
            <a:endParaRPr lang="hr-HR" altLang="sr-Latn-RS" sz="4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26" name="Subtitle 6"/>
          <p:cNvSpPr>
            <a:spLocks noGrp="1"/>
          </p:cNvSpPr>
          <p:nvPr>
            <p:ph type="subTitle" idx="4294967295"/>
          </p:nvPr>
        </p:nvSpPr>
        <p:spPr bwMode="auto">
          <a:xfrm>
            <a:off x="214312" y="5572125"/>
            <a:ext cx="8822184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None/>
            </a:pPr>
            <a:r>
              <a:rPr lang="vi-VN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nijela Kosty, dipl.ing.građ., HŽ Infrastruktura d.o.o., Zagreb</a:t>
            </a:r>
            <a:endParaRPr lang="hr-HR" altLang="sr-Latn-RS" sz="1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hr-HR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o Vajdić, mag.ing.aedif., DB Engineering &amp; Consulting GmbH, Zagreb</a:t>
            </a:r>
          </a:p>
          <a:p>
            <a:pPr marL="0" indent="0">
              <a:buNone/>
            </a:pPr>
            <a:r>
              <a:rPr lang="vi-VN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o Šiša, dipl.ing.građ., Geotehnički studio d.o.o., Zagreb</a:t>
            </a:r>
            <a:endParaRPr lang="hr-HR" altLang="sr-Latn-RS" sz="1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27" name="TextBox 3"/>
          <p:cNvSpPr txBox="1">
            <a:spLocks noChangeArrowheads="1"/>
          </p:cNvSpPr>
          <p:nvPr/>
        </p:nvSpPr>
        <p:spPr bwMode="auto">
          <a:xfrm>
            <a:off x="0" y="0"/>
            <a:ext cx="9144000" cy="85566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HRVATSKA  KOMORA  INŽENJERA  GRAĐEVINARSTVA</a:t>
            </a:r>
          </a:p>
          <a:p>
            <a:pPr eaLnBrk="1" hangingPunct="1"/>
            <a:endParaRPr lang="hr-HR" altLang="sr-Latn-RS" sz="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Dani  Hrvatske komore inženjera  građevinarstva</a:t>
            </a:r>
            <a:r>
              <a:rPr lang="hr-HR" altLang="sr-Latn-R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atija, 2019.</a:t>
            </a:r>
          </a:p>
          <a:p>
            <a:pPr eaLnBrk="1" hangingPunct="1"/>
            <a:endParaRPr lang="hr-HR" altLang="sr-Latn-RS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429250"/>
            <a:ext cx="9144000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9" name="Subtitle 6"/>
          <p:cNvSpPr txBox="1">
            <a:spLocks/>
          </p:cNvSpPr>
          <p:nvPr/>
        </p:nvSpPr>
        <p:spPr bwMode="auto">
          <a:xfrm>
            <a:off x="0" y="3857625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hr-HR" altLang="sr-Latn-R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nijela Kosty/Marko Vajdić/Pero Šiša</a:t>
            </a:r>
          </a:p>
        </p:txBody>
      </p:sp>
      <p:pic>
        <p:nvPicPr>
          <p:cNvPr id="513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9318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 dirty="0">
                <a:latin typeface="Arial Narrow" panose="020B0606020202030204" pitchFamily="34" charset="0"/>
              </a:rPr>
              <a:t>Danijela Kosty</a:t>
            </a: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10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164198"/>
            <a:ext cx="7344816" cy="5990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4000" b="1" dirty="0">
                <a:solidFill>
                  <a:srgbClr val="0070C0"/>
                </a:solidFill>
              </a:rPr>
              <a:t>Dinamika izvođenja radova</a:t>
            </a:r>
          </a:p>
        </p:txBody>
      </p:sp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297942" y="998158"/>
            <a:ext cx="8120062" cy="3016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algn="just">
              <a:buFont typeface="Wingdings" panose="05000000000000000000" pitchFamily="2" charset="2"/>
              <a:buChar char="Ø"/>
            </a:pP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3. etapa -  radovi s </a:t>
            </a:r>
            <a:r>
              <a:rPr lang="hr-HR" altLang="en-US" dirty="0">
                <a:solidFill>
                  <a:srgbClr val="0070C0"/>
                </a:solidFill>
                <a:latin typeface="Arial" charset="0"/>
              </a:rPr>
              <a:t>povremenim 7-satnim zatvorima pruge</a:t>
            </a:r>
          </a:p>
          <a:p>
            <a:pPr algn="just"/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	              -  kabliranje, nastavak izgradnje nosivih konstrukcija KM-a, kućica APB-a i 	ŽCP-a</a:t>
            </a:r>
          </a:p>
          <a:p>
            <a:pPr algn="just"/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	              -  završetak izgradnje svih objekata iz 2. etape </a:t>
            </a:r>
          </a:p>
          <a:p>
            <a:pPr algn="just"/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	              -  montaža svih dodatnih kontakata, signala, montaža elektroničkih uređaja 	u kolodvorima i na ŽCP-ima 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4. etapa  - </a:t>
            </a:r>
            <a:r>
              <a:rPr lang="hr-HR" altLang="en-US" dirty="0">
                <a:solidFill>
                  <a:srgbClr val="0070C0"/>
                </a:solidFill>
                <a:latin typeface="Arial" charset="0"/>
              </a:rPr>
              <a:t>završni radovi 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s povremenim zatvorima pruge</a:t>
            </a:r>
          </a:p>
          <a:p>
            <a:pPr algn="just"/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	               - završno zavarivanje i brušenje tračnica, definitivno reguliranje kolosijeka, 	montaža ovjesne opreme za elektrifikaciju, fina regulacija KM-a, ugradnje 	rasvjetnih stupova</a:t>
            </a:r>
          </a:p>
          <a:p>
            <a:pPr algn="just"/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	               - uspostava elektroničkog signalno-sigurnosnog uređaja (ESSU)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</a:t>
            </a:r>
          </a:p>
        </p:txBody>
      </p:sp>
      <p:sp>
        <p:nvSpPr>
          <p:cNvPr id="8" name="Line 9">
            <a:extLst>
              <a:ext uri="{FF2B5EF4-FFF2-40B4-BE49-F238E27FC236}">
                <a16:creationId xmlns:a16="http://schemas.microsoft.com/office/drawing/2014/main" xmlns="" id="{996E13BA-D4BD-4B5B-A96F-2C3E218D4D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7038" y="765175"/>
            <a:ext cx="6953250" cy="0"/>
          </a:xfrm>
          <a:prstGeom prst="line">
            <a:avLst/>
          </a:prstGeom>
          <a:noFill/>
          <a:ln w="15875">
            <a:solidFill>
              <a:srgbClr val="4F81B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" name="TekstniOkvir 1">
            <a:extLst>
              <a:ext uri="{FF2B5EF4-FFF2-40B4-BE49-F238E27FC236}">
                <a16:creationId xmlns:a16="http://schemas.microsoft.com/office/drawing/2014/main" xmlns="" id="{9AF6B0D7-7139-41E4-8BB4-6090F46244FF}"/>
              </a:ext>
            </a:extLst>
          </p:cNvPr>
          <p:cNvSpPr txBox="1"/>
          <p:nvPr/>
        </p:nvSpPr>
        <p:spPr>
          <a:xfrm>
            <a:off x="290897" y="3924998"/>
            <a:ext cx="3955537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600" b="1" dirty="0">
                <a:solidFill>
                  <a:srgbClr val="0070C0"/>
                </a:solidFill>
              </a:rPr>
              <a:t>Napredovanje radova: </a:t>
            </a:r>
          </a:p>
          <a:p>
            <a:endParaRPr lang="hr-HR" sz="1600" dirty="0"/>
          </a:p>
          <a:p>
            <a:pPr marL="285750" indent="-285750">
              <a:buFontTx/>
              <a:buChar char="-"/>
            </a:pPr>
            <a:r>
              <a:rPr lang="hr-HR" sz="1600" dirty="0"/>
              <a:t>loši vremenski uvjeti </a:t>
            </a:r>
          </a:p>
          <a:p>
            <a:pPr marL="285750" indent="-285750">
              <a:buFontTx/>
              <a:buChar char="-"/>
            </a:pPr>
            <a:r>
              <a:rPr lang="hr-HR" sz="1600" dirty="0"/>
              <a:t>nagli porasti vodotoka</a:t>
            </a:r>
          </a:p>
          <a:p>
            <a:pPr marL="285750" indent="-285750">
              <a:buFontTx/>
              <a:buChar char="-"/>
            </a:pPr>
            <a:r>
              <a:rPr lang="hr-HR" sz="1600" dirty="0"/>
              <a:t>izvedenost radova </a:t>
            </a:r>
          </a:p>
          <a:p>
            <a:endParaRPr lang="hr-HR" sz="1600" dirty="0"/>
          </a:p>
          <a:p>
            <a:pPr marL="285750" indent="-285750">
              <a:buFontTx/>
              <a:buChar char="-"/>
            </a:pPr>
            <a:endParaRPr lang="hr-HR" sz="1600" dirty="0"/>
          </a:p>
          <a:p>
            <a:endParaRPr lang="hr-HR" dirty="0"/>
          </a:p>
        </p:txBody>
      </p:sp>
      <p:pic>
        <p:nvPicPr>
          <p:cNvPr id="4" name="Slika 3">
            <a:extLst>
              <a:ext uri="{FF2B5EF4-FFF2-40B4-BE49-F238E27FC236}">
                <a16:creationId xmlns:a16="http://schemas.microsoft.com/office/drawing/2014/main" xmlns="" id="{ADC75536-1C0C-4F3E-82DF-43C37C3321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574" y="3826689"/>
            <a:ext cx="4032000" cy="2268000"/>
          </a:xfrm>
          <a:prstGeom prst="rect">
            <a:avLst/>
          </a:prstGeom>
        </p:spPr>
      </p:pic>
      <p:pic>
        <p:nvPicPr>
          <p:cNvPr id="11" name="Picture 13">
            <a:extLst>
              <a:ext uri="{FF2B5EF4-FFF2-40B4-BE49-F238E27FC236}">
                <a16:creationId xmlns:a16="http://schemas.microsoft.com/office/drawing/2014/main" xmlns="" id="{0AA05A24-FC19-4C82-B6D4-D4600DDC2D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245" y="96754"/>
            <a:ext cx="23034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4874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/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1</a:t>
            </a:fld>
            <a:endParaRPr lang="hr-HR" altLang="sr-Latn-RS"/>
          </a:p>
        </p:txBody>
      </p:sp>
      <p:sp>
        <p:nvSpPr>
          <p:cNvPr id="11" name="Titelbox">
            <a:extLst>
              <a:ext uri="{FF2B5EF4-FFF2-40B4-BE49-F238E27FC236}">
                <a16:creationId xmlns:a16="http://schemas.microsoft.com/office/drawing/2014/main" xmlns="" id="{1F70F5AE-DA5B-4C6E-A009-7B1DE0A5DB6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28187" y="4733624"/>
            <a:ext cx="11611840" cy="397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de-DE" sz="2400" b="1" dirty="0">
                <a:solidFill>
                  <a:schemeClr val="bg1"/>
                </a:solidFill>
              </a:defRPr>
            </a:lvl1pPr>
            <a:lvl2pPr algn="l">
              <a:defRPr sz="2000" b="1">
                <a:solidFill>
                  <a:schemeClr val="tx2"/>
                </a:solidFill>
              </a:defRPr>
            </a:lvl2pPr>
            <a:lvl3pPr algn="l">
              <a:defRPr sz="2000" b="1">
                <a:solidFill>
                  <a:schemeClr val="tx2"/>
                </a:solidFill>
              </a:defRPr>
            </a:lvl3pPr>
            <a:lvl4pPr algn="l">
              <a:defRPr sz="2000" b="1">
                <a:solidFill>
                  <a:schemeClr val="tx2"/>
                </a:solidFill>
              </a:defRPr>
            </a:lvl4pPr>
            <a:lvl5pPr algn="l">
              <a:defRPr sz="2000" b="1">
                <a:solidFill>
                  <a:schemeClr val="tx2"/>
                </a:solidFill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</a:defRPr>
            </a:lvl9pPr>
          </a:lstStyle>
          <a:p>
            <a:r>
              <a:rPr lang="en-US" sz="3200" dirty="0">
                <a:solidFill>
                  <a:srgbClr val="FF0000"/>
                </a:solidFill>
              </a:rPr>
              <a:t>DB</a:t>
            </a:r>
            <a:r>
              <a:rPr lang="en-US" sz="3200" b="0" dirty="0">
                <a:solidFill>
                  <a:schemeClr val="tx1"/>
                </a:solidFill>
              </a:rPr>
              <a:t> </a:t>
            </a:r>
            <a:r>
              <a:rPr lang="en-US" sz="3200" dirty="0">
                <a:solidFill>
                  <a:schemeClr val="tx1"/>
                </a:solidFill>
              </a:rPr>
              <a:t>Engineering &amp; Consulting GmbH</a:t>
            </a:r>
          </a:p>
        </p:txBody>
      </p:sp>
      <p:sp>
        <p:nvSpPr>
          <p:cNvPr id="12" name="Untertitelbox">
            <a:extLst>
              <a:ext uri="{FF2B5EF4-FFF2-40B4-BE49-F238E27FC236}">
                <a16:creationId xmlns:a16="http://schemas.microsoft.com/office/drawing/2014/main" xmlns="" id="{1F852056-9BCE-4C17-BC2F-1995408F8EC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28187" y="5231035"/>
            <a:ext cx="8592286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de-DE" sz="2400">
                <a:solidFill>
                  <a:schemeClr val="bg1"/>
                </a:solidFill>
              </a:defRPr>
            </a:lvl1pPr>
            <a:lvl2pPr marL="185738" indent="-184150" algn="l">
              <a:buClr>
                <a:srgbClr val="FF0000"/>
              </a:buClr>
              <a:buSzPct val="85000"/>
              <a:buFont typeface="Wingdings" pitchFamily="2" charset="2"/>
              <a:buChar char="n"/>
            </a:lvl2pPr>
            <a:lvl3pPr marL="358775" indent="-171450" algn="l">
              <a:buClr>
                <a:srgbClr val="FF0000"/>
              </a:buClr>
              <a:buChar char="–"/>
            </a:lvl3pPr>
            <a:lvl4pPr marL="544513" indent="-184150" algn="l">
              <a:buClr>
                <a:srgbClr val="FF0000"/>
              </a:buClr>
              <a:buFont typeface="Wingdings" pitchFamily="2" charset="2"/>
              <a:buChar char="§"/>
            </a:lvl4pPr>
            <a:lvl5pPr marL="728663" indent="-182563" algn="l">
              <a:buClr>
                <a:srgbClr val="FF0000"/>
              </a:buClr>
              <a:buChar char="–"/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9pPr>
          </a:lstStyle>
          <a:p>
            <a:r>
              <a:rPr lang="hr-HR" sz="3000" dirty="0">
                <a:solidFill>
                  <a:schemeClr val="tx1"/>
                </a:solidFill>
              </a:rPr>
              <a:t>Nadzor radova modernizacije i elektrifikacije željezničke pruge na dionici Zaprešić - Zabok</a:t>
            </a:r>
            <a:endParaRPr lang="en-US" sz="3000" dirty="0">
              <a:solidFill>
                <a:schemeClr val="tx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11559" y="1204865"/>
            <a:ext cx="7479343" cy="3448271"/>
            <a:chOff x="348384" y="191424"/>
            <a:chExt cx="8771951" cy="4437599"/>
          </a:xfrm>
        </p:grpSpPr>
        <p:pic>
          <p:nvPicPr>
            <p:cNvPr id="9" name="Picture 402" descr="https://upload.wikimedia.org/wikipedia/commons/thumb/5/5f/Zeljeznicki_kolodvor_Zapresic.jpg/1280px-Zeljeznicki_kolodvor_Zapresic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061846">
              <a:off x="544740" y="2251583"/>
              <a:ext cx="3174887" cy="237744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0" name="Picture 404" descr="https://upload.wikimedia.org/wikipedia/commons/thumb/9/9b/Zabok_%28Bahnhof%29.jpg/1280px-Zabok_%28Bahnhof%29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761330">
              <a:off x="3306158" y="191424"/>
              <a:ext cx="2686443" cy="201168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3" name="Picture 400" descr="Slikovni rezultat za Zapresic - Zabok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92410">
              <a:off x="348384" y="223626"/>
              <a:ext cx="3928357" cy="260570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4" name="Picture 406" descr="https://upload.wikimedia.org/wikipedia/commons/thumb/e/ee/Veliko_Trgovi%C5%A1%C4%87e_%28Bahnhof%29.jpg/1280px-Veliko_Trgovi%C5%A1%C4%87e_%28Bahnhof%29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39713">
              <a:off x="3262913" y="1874687"/>
              <a:ext cx="3052778" cy="22860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5" name="Picture 399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0718" y="810272"/>
              <a:ext cx="3069617" cy="278471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</p:grpSp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890" y="29807"/>
            <a:ext cx="721201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43526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2</a:t>
            </a:fld>
            <a:endParaRPr lang="hr-HR" altLang="sr-Latn-RS"/>
          </a:p>
        </p:txBody>
      </p:sp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164198"/>
            <a:ext cx="8496944" cy="9409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b="1" dirty="0"/>
              <a:t>Sudionici u provedbi ovog projekta </a:t>
            </a:r>
            <a:endParaRPr lang="hr-HR" altLang="sr-Latn-RS" b="1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97" y="980728"/>
            <a:ext cx="8820729" cy="216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2845" y="2708920"/>
            <a:ext cx="5688632" cy="341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800946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3</a:t>
            </a:fld>
            <a:endParaRPr lang="hr-HR" altLang="sr-Latn-RS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164198"/>
            <a:ext cx="8229600" cy="9409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4000" b="1" dirty="0"/>
              <a:t>Međusobni odnosi između dionika</a:t>
            </a:r>
          </a:p>
        </p:txBody>
      </p:sp>
      <p:grpSp>
        <p:nvGrpSpPr>
          <p:cNvPr id="30" name="Group 29"/>
          <p:cNvGrpSpPr/>
          <p:nvPr/>
        </p:nvGrpSpPr>
        <p:grpSpPr>
          <a:xfrm rot="5400000">
            <a:off x="2303330" y="-935205"/>
            <a:ext cx="4576033" cy="8839942"/>
            <a:chOff x="342678" y="-768883"/>
            <a:chExt cx="4576033" cy="8839942"/>
          </a:xfrm>
        </p:grpSpPr>
        <p:sp>
          <p:nvSpPr>
            <p:cNvPr id="31" name="Text Box 166"/>
            <p:cNvSpPr txBox="1"/>
            <p:nvPr/>
          </p:nvSpPr>
          <p:spPr>
            <a:xfrm>
              <a:off x="508000" y="1143000"/>
              <a:ext cx="699135" cy="1040130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Prezentiranje radova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32" name="Text Box 170"/>
            <p:cNvSpPr txBox="1"/>
            <p:nvPr/>
          </p:nvSpPr>
          <p:spPr>
            <a:xfrm rot="10800000">
              <a:off x="2222102" y="2771641"/>
              <a:ext cx="1597660" cy="990600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Koordiniranje/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Kontrol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Pisane obavijesti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 rot="16200000">
              <a:off x="-5336" y="-420868"/>
              <a:ext cx="1860550" cy="1164520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Izvođač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Izvodi radove u skladu sa Ugovorom, te prezentira rad Inženjeru kako bi se izvršila kontrola i dobilo potrebno odobrenje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 rot="16200000">
              <a:off x="3223760" y="2664552"/>
              <a:ext cx="1860550" cy="1119226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hr-HR" sz="12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Naručitelj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Vodi projekt i kontrolira realizaciju projekta, izdaje potrebne naloge/suglasnosti/odobrenja Izvođaču i Inženjeru prije bilo kakve aktivnosti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 rot="16200000">
              <a:off x="-84614" y="2667076"/>
              <a:ext cx="2798801" cy="1944218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Inženjer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Vrši  nadzor  nad  svim ugovorenim radovima do njihova završetka i ishođenja uporabnih dozvola: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228600" marR="0" lvl="0" indent="-228600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stalni   stručni,   tehnički,   financijski,  tehnološki   i   geodetski   nadzor  tijekom   izvođenja   radov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228600" marR="0" lvl="0" indent="-228600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povremeno  pružanje usluga nadzora stručnjaka-specijalista iz drugih područj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228600" marR="0" lvl="0" indent="-228600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stalni  tehnološki  nadzor  (kontrolna  ispitivanja  materijala  i  radova)  na  gradilištu  i  povremeni tehnološki nadzor u proizvodnim pogonim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 rot="16200000">
              <a:off x="3223760" y="-350154"/>
              <a:ext cx="1860550" cy="1057275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Javnopravna tijel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Izdaju rješenja, odobrenja i suglasnosti, te po potrebi prisustvuju izvođenju radov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cxnSp>
          <p:nvCxnSpPr>
            <p:cNvPr id="37" name="Straight Arrow Connector 36"/>
            <p:cNvCxnSpPr/>
            <p:nvPr/>
          </p:nvCxnSpPr>
          <p:spPr>
            <a:xfrm rot="16892585" flipV="1">
              <a:off x="1728850" y="-51778"/>
              <a:ext cx="1726750" cy="2409205"/>
            </a:xfrm>
            <a:prstGeom prst="straightConnector1">
              <a:avLst/>
            </a:prstGeom>
            <a:noFill/>
            <a:ln w="44450" cap="flat" cmpd="sng" algn="ctr">
              <a:solidFill>
                <a:srgbClr val="1F497D"/>
              </a:solidFill>
              <a:prstDash val="solid"/>
              <a:headEnd type="stealth" w="lg" len="med"/>
              <a:tailEnd type="stealth" w="lg" len="med"/>
            </a:ln>
            <a:effectLst/>
          </p:spPr>
        </p:cxnSp>
        <p:cxnSp>
          <p:nvCxnSpPr>
            <p:cNvPr id="38" name="Straight Arrow Connector 37"/>
            <p:cNvCxnSpPr/>
            <p:nvPr/>
          </p:nvCxnSpPr>
          <p:spPr>
            <a:xfrm rot="16200000" flipH="1" flipV="1">
              <a:off x="3676053" y="1684722"/>
              <a:ext cx="1098588" cy="11538"/>
            </a:xfrm>
            <a:prstGeom prst="straightConnector1">
              <a:avLst/>
            </a:prstGeom>
            <a:noFill/>
            <a:ln w="44450" cap="flat" cmpd="sng" algn="ctr">
              <a:solidFill>
                <a:srgbClr val="1F497D"/>
              </a:solidFill>
              <a:prstDash val="solid"/>
              <a:headEnd type="stealth" w="lg" len="med"/>
              <a:tailEnd type="stealth" w="lg" len="med"/>
            </a:ln>
            <a:effectLst/>
          </p:spPr>
        </p:cxnSp>
        <p:cxnSp>
          <p:nvCxnSpPr>
            <p:cNvPr id="39" name="Straight Arrow Connector 38"/>
            <p:cNvCxnSpPr/>
            <p:nvPr/>
          </p:nvCxnSpPr>
          <p:spPr>
            <a:xfrm rot="16200000" flipV="1">
              <a:off x="2913054" y="2816941"/>
              <a:ext cx="0" cy="1161940"/>
            </a:xfrm>
            <a:prstGeom prst="straightConnector1">
              <a:avLst/>
            </a:prstGeom>
            <a:noFill/>
            <a:ln w="44450" cap="flat" cmpd="sng" algn="ctr">
              <a:solidFill>
                <a:srgbClr val="1F497D"/>
              </a:solidFill>
              <a:prstDash val="solid"/>
              <a:headEnd type="stealth" w="lg" len="med"/>
              <a:tailEnd type="stealth" w="lg" len="med"/>
            </a:ln>
            <a:effectLst/>
          </p:spPr>
        </p:cxnSp>
        <p:sp>
          <p:nvSpPr>
            <p:cNvPr id="40" name="Text Box 167"/>
            <p:cNvSpPr txBox="1"/>
            <p:nvPr/>
          </p:nvSpPr>
          <p:spPr>
            <a:xfrm>
              <a:off x="3787780" y="1261639"/>
              <a:ext cx="431797" cy="822960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Zahtjevi/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Rješenj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41" name="Text Box 169"/>
            <p:cNvSpPr txBox="1"/>
            <p:nvPr/>
          </p:nvSpPr>
          <p:spPr>
            <a:xfrm rot="13596878">
              <a:off x="1552555" y="670344"/>
              <a:ext cx="1896110" cy="941705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Potrebna odobrenja i dozvole u skladu sa internom regulativom Naručitelj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42" name="Text Box 58"/>
            <p:cNvSpPr txBox="1"/>
            <p:nvPr/>
          </p:nvSpPr>
          <p:spPr>
            <a:xfrm rot="16200000">
              <a:off x="-50800" y="5372100"/>
              <a:ext cx="1735455" cy="544195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>
                  <a:ln>
                    <a:noFill/>
                  </a:ln>
                  <a:solidFill>
                    <a:srgbClr val="E36C0A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Pisana 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>
                  <a:ln>
                    <a:noFill/>
                  </a:ln>
                  <a:solidFill>
                    <a:srgbClr val="E36C0A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obavijest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cxnSp>
          <p:nvCxnSpPr>
            <p:cNvPr id="43" name="Straight Arrow Connector 42"/>
            <p:cNvCxnSpPr/>
            <p:nvPr/>
          </p:nvCxnSpPr>
          <p:spPr>
            <a:xfrm flipV="1">
              <a:off x="901700" y="5156200"/>
              <a:ext cx="0" cy="1047115"/>
            </a:xfrm>
            <a:prstGeom prst="straightConnector1">
              <a:avLst/>
            </a:prstGeom>
            <a:noFill/>
            <a:ln w="44450" cap="flat" cmpd="sng" algn="ctr">
              <a:solidFill>
                <a:srgbClr val="F79646">
                  <a:lumMod val="75000"/>
                </a:srgbClr>
              </a:solidFill>
              <a:prstDash val="solid"/>
              <a:headEnd type="stealth" w="lg" len="med"/>
              <a:tailEnd type="none" w="lg" len="med"/>
            </a:ln>
            <a:effectLst/>
          </p:spPr>
        </p:cxnSp>
        <p:sp>
          <p:nvSpPr>
            <p:cNvPr id="44" name="Rectangle 43"/>
            <p:cNvSpPr/>
            <p:nvPr/>
          </p:nvSpPr>
          <p:spPr>
            <a:xfrm rot="16200000">
              <a:off x="-71641" y="6732072"/>
              <a:ext cx="1860550" cy="817423"/>
            </a:xfrm>
            <a:prstGeom prst="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solidFill>
                <a:srgbClr val="4F81BD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36C0A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Građevinska inspekcija 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E36C0A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(te po potrebi druge inspekcije)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3289301" y="6425506"/>
              <a:ext cx="1860550" cy="1263650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Projektantski nadzor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Nadzire da li se radovi izvode prema projektu. Na upit daje svoje mišljenje na projektirano riješenje ili isto po potrebi dopununjuje ili prilagođava novonastalim uvijetim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 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46" name="Text Box 24"/>
            <p:cNvSpPr txBox="1"/>
            <p:nvPr/>
          </p:nvSpPr>
          <p:spPr>
            <a:xfrm>
              <a:off x="4219576" y="4825683"/>
              <a:ext cx="699135" cy="818515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Upute / odluke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sp>
          <p:nvSpPr>
            <p:cNvPr id="47" name="Text Box 25"/>
            <p:cNvSpPr txBox="1"/>
            <p:nvPr/>
          </p:nvSpPr>
          <p:spPr>
            <a:xfrm>
              <a:off x="3787775" y="4261332"/>
              <a:ext cx="431801" cy="1786890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Zahtjev za pojašnjenjem i dopunom projektiranih rješenj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cxnSp>
          <p:nvCxnSpPr>
            <p:cNvPr id="48" name="Straight Arrow Connector 47"/>
            <p:cNvCxnSpPr/>
            <p:nvPr/>
          </p:nvCxnSpPr>
          <p:spPr>
            <a:xfrm rot="16200000" flipH="1">
              <a:off x="3254891" y="5139174"/>
              <a:ext cx="1940910" cy="11538"/>
            </a:xfrm>
            <a:prstGeom prst="straightConnector1">
              <a:avLst/>
            </a:prstGeom>
            <a:noFill/>
            <a:ln w="44450" cap="flat" cmpd="sng" algn="ctr">
              <a:solidFill>
                <a:srgbClr val="1F497D"/>
              </a:solidFill>
              <a:prstDash val="solid"/>
              <a:headEnd type="stealth" w="lg" len="med"/>
              <a:tailEnd type="stealth" w="lg" len="med"/>
            </a:ln>
            <a:effectLst/>
          </p:spPr>
        </p:cxnSp>
        <p:sp>
          <p:nvSpPr>
            <p:cNvPr id="49" name="Rectangle 48"/>
            <p:cNvSpPr/>
            <p:nvPr/>
          </p:nvSpPr>
          <p:spPr>
            <a:xfrm rot="16200000">
              <a:off x="1941796" y="6240463"/>
              <a:ext cx="1660550" cy="542925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Projektant glavnog projekt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  <p:cxnSp>
          <p:nvCxnSpPr>
            <p:cNvPr id="50" name="Straight Arrow Connector 49"/>
            <p:cNvCxnSpPr/>
            <p:nvPr/>
          </p:nvCxnSpPr>
          <p:spPr>
            <a:xfrm rot="16200000" flipH="1" flipV="1">
              <a:off x="2536258" y="4439195"/>
              <a:ext cx="1293977" cy="822350"/>
            </a:xfrm>
            <a:prstGeom prst="straightConnector1">
              <a:avLst/>
            </a:prstGeom>
            <a:noFill/>
            <a:ln w="44450" cap="flat" cmpd="sng" algn="ctr">
              <a:solidFill>
                <a:srgbClr val="1F497D"/>
              </a:solidFill>
              <a:prstDash val="solid"/>
              <a:headEnd type="stealth" w="lg" len="med"/>
              <a:tailEnd type="stealth" w="lg" len="med"/>
            </a:ln>
            <a:effectLst/>
          </p:spPr>
        </p:cxnSp>
        <p:sp>
          <p:nvSpPr>
            <p:cNvPr id="51" name="Text Box 69"/>
            <p:cNvSpPr txBox="1"/>
            <p:nvPr/>
          </p:nvSpPr>
          <p:spPr>
            <a:xfrm rot="1949606">
              <a:off x="2900764" y="4185344"/>
              <a:ext cx="699135" cy="1379005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vert270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r-HR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DB Office"/>
                  <a:ea typeface="Calibri"/>
                  <a:cs typeface="Times New Roman"/>
                </a:rPr>
                <a:t>Zahtjevi /  Rješenja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Office"/>
                <a:ea typeface="Calibri"/>
                <a:cs typeface="Times New Roman"/>
              </a:endParaRPr>
            </a:p>
          </p:txBody>
        </p:sp>
      </p:grpSp>
      <p:cxnSp>
        <p:nvCxnSpPr>
          <p:cNvPr id="55" name="Straight Arrow Connector 54"/>
          <p:cNvCxnSpPr/>
          <p:nvPr/>
        </p:nvCxnSpPr>
        <p:spPr>
          <a:xfrm flipH="1" flipV="1">
            <a:off x="6059302" y="1832633"/>
            <a:ext cx="1098588" cy="11538"/>
          </a:xfrm>
          <a:prstGeom prst="straightConnector1">
            <a:avLst/>
          </a:prstGeom>
          <a:noFill/>
          <a:ln w="44450" cap="flat" cmpd="sng" algn="ctr">
            <a:solidFill>
              <a:srgbClr val="1F497D"/>
            </a:solidFill>
            <a:prstDash val="solid"/>
            <a:headEnd type="stealth" w="lg" len="med"/>
            <a:tailEnd type="stealth" w="lg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912073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4</a:t>
            </a:fld>
            <a:endParaRPr lang="hr-HR" altLang="sr-Latn-RS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164198"/>
            <a:ext cx="8229600" cy="9409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b="1" dirty="0"/>
              <a:t>Ugovorne obveze Inženjera</a:t>
            </a:r>
          </a:p>
        </p:txBody>
      </p:sp>
      <p:sp>
        <p:nvSpPr>
          <p:cNvPr id="2" name="Rectangle 1"/>
          <p:cNvSpPr/>
          <p:nvPr/>
        </p:nvSpPr>
        <p:spPr>
          <a:xfrm>
            <a:off x="179512" y="980728"/>
            <a:ext cx="8496944" cy="4703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Clr>
                <a:srgbClr val="FF0000"/>
              </a:buClr>
              <a:buFont typeface="Symbol"/>
              <a:buChar char=""/>
            </a:pPr>
            <a:r>
              <a:rPr lang="hr-HR" sz="2000" dirty="0">
                <a:latin typeface="DB Office"/>
                <a:ea typeface="Times New Roman"/>
                <a:cs typeface="Arial"/>
              </a:rPr>
              <a:t>praćenje i provedba ugovora sukladno FIDIC uvjetima ugovaranja</a:t>
            </a:r>
            <a:endParaRPr lang="en-US" sz="2000" dirty="0">
              <a:latin typeface="DB Office"/>
              <a:ea typeface="Calibri"/>
              <a:cs typeface="Times New Roman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Clr>
                <a:srgbClr val="FF0000"/>
              </a:buClr>
              <a:buFont typeface="Symbol"/>
              <a:buChar char=""/>
            </a:pPr>
            <a:r>
              <a:rPr lang="hr-HR" sz="2000" dirty="0">
                <a:latin typeface="DB Office"/>
                <a:ea typeface="Times New Roman"/>
                <a:cs typeface="Arial"/>
              </a:rPr>
              <a:t>stalni stručni, tehnički, financijski i geodetski nadzor tijekom izvođenja radova (uključujući i nadzor nad izvođenjem eventualnih nepredviđenih radova); </a:t>
            </a:r>
            <a:endParaRPr lang="en-US" sz="2000" dirty="0">
              <a:latin typeface="DB Office"/>
              <a:ea typeface="Calibri"/>
              <a:cs typeface="Times New Roman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Clr>
                <a:srgbClr val="FF0000"/>
              </a:buClr>
              <a:buFont typeface="Symbol"/>
              <a:buChar char=""/>
            </a:pPr>
            <a:r>
              <a:rPr lang="hr-HR" sz="2000" dirty="0">
                <a:latin typeface="DB Office"/>
                <a:ea typeface="Times New Roman"/>
                <a:cs typeface="Arial"/>
              </a:rPr>
              <a:t>povremeno pružanje usluga nadzora stručnjaka-specijalista iz drugih područja (temeljenje, hidrotehnika, statika, pravo...);</a:t>
            </a:r>
            <a:endParaRPr lang="en-US" sz="2000" dirty="0">
              <a:latin typeface="DB Office"/>
              <a:ea typeface="Calibri"/>
              <a:cs typeface="Times New Roman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Clr>
                <a:srgbClr val="FF0000"/>
              </a:buClr>
              <a:buFont typeface="Symbol"/>
              <a:buChar char=""/>
            </a:pPr>
            <a:r>
              <a:rPr lang="hr-HR" sz="2000" dirty="0">
                <a:latin typeface="DB Office"/>
                <a:ea typeface="Times New Roman"/>
                <a:cs typeface="Arial"/>
              </a:rPr>
              <a:t>stalni tehnološki nadzor (kontrolna ispitivanja materijala i radova) na gradilištu i povremeni tehnološki nadzor u proizvodnim pogonima;</a:t>
            </a:r>
            <a:endParaRPr lang="en-US" sz="2000" dirty="0">
              <a:latin typeface="DB Office"/>
              <a:ea typeface="Calibri"/>
              <a:cs typeface="Times New Roman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Clr>
                <a:srgbClr val="FF0000"/>
              </a:buClr>
              <a:buFont typeface="Symbol"/>
              <a:buChar char=""/>
            </a:pPr>
            <a:r>
              <a:rPr lang="hr-HR" sz="2000" dirty="0">
                <a:latin typeface="DB Office"/>
                <a:ea typeface="Times New Roman"/>
                <a:cs typeface="Arial"/>
              </a:rPr>
              <a:t>pružanje usluge koordinatora zaštite na radu (koordinator 2);</a:t>
            </a:r>
            <a:endParaRPr lang="en-US" sz="2000" dirty="0">
              <a:latin typeface="DB Office"/>
              <a:ea typeface="Calibri"/>
              <a:cs typeface="Times New Roman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Clr>
                <a:srgbClr val="FF0000"/>
              </a:buClr>
              <a:buFont typeface="Symbol"/>
              <a:buChar char=""/>
            </a:pPr>
            <a:r>
              <a:rPr lang="hr-HR" sz="2000" dirty="0">
                <a:latin typeface="DB Office"/>
                <a:ea typeface="Times New Roman"/>
                <a:cs typeface="Arial"/>
              </a:rPr>
              <a:t>usluge ostalih stručnjaka koji nisu izrijekom navedeni (npr. rad pomoćnika nadzora, i sl.) ali su potrebni za učinkovitu provedbu nadzora i praćenja dinamike radova izvođača kao i logističku i savjetodavnu podršku iz sjedišta pružatelja usluge.</a:t>
            </a:r>
            <a:endParaRPr lang="en-US" sz="2000" dirty="0">
              <a:effectLst/>
              <a:latin typeface="DB Office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688751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5</a:t>
            </a:fld>
            <a:endParaRPr lang="hr-HR" altLang="sr-Latn-RS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164198"/>
            <a:ext cx="8229600" cy="9409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2800" b="1" dirty="0"/>
              <a:t>Organizacijska shema Inženjera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6"/>
          <a:stretch/>
        </p:blipFill>
        <p:spPr bwMode="auto">
          <a:xfrm>
            <a:off x="179512" y="1196752"/>
            <a:ext cx="8712968" cy="4720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78498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6</a:t>
            </a:fld>
            <a:endParaRPr lang="hr-HR" altLang="sr-Latn-R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44800" y="260649"/>
            <a:ext cx="9955656" cy="504056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2400" b="0" kern="1200">
                <a:solidFill>
                  <a:schemeClr val="tx1"/>
                </a:solidFill>
                <a:latin typeface="DB Office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anose="020B0604020202020204" pitchFamily="34" charset="0"/>
                <a:ea typeface="+mj-ea"/>
                <a:cs typeface="+mj-cs"/>
              </a:rPr>
              <a:t>Odgovornost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 panose="020B0604020202020204" pitchFamily="34" charset="0"/>
              <a:ea typeface="+mj-ea"/>
              <a:cs typeface="+mj-cs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291521"/>
              </p:ext>
            </p:extLst>
          </p:nvPr>
        </p:nvGraphicFramePr>
        <p:xfrm>
          <a:off x="35496" y="764702"/>
          <a:ext cx="9108504" cy="5532120"/>
        </p:xfrm>
        <a:graphic>
          <a:graphicData uri="http://schemas.openxmlformats.org/drawingml/2006/table">
            <a:tbl>
              <a:tblPr firstRow="1" bandRow="1"/>
              <a:tblGrid>
                <a:gridCol w="30361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361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361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461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r>
                        <a:rPr lang="hr-HR" sz="1800" b="1" kern="1200" noProof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rektor projekta </a:t>
                      </a:r>
                      <a:endParaRPr lang="hr-HR" noProof="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r>
                        <a:rPr lang="hr-HR" sz="1800" b="1" kern="1200" noProof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itelj projekta</a:t>
                      </a:r>
                      <a:endParaRPr lang="hr-HR" noProof="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B Office"/>
                        </a:defRPr>
                      </a:lvl9pPr>
                    </a:lstStyle>
                    <a:p>
                      <a:pPr algn="ctr"/>
                      <a:r>
                        <a:rPr lang="hr-HR" sz="1800" b="1" kern="1200" noProof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avni nadzorni inženjer </a:t>
                      </a:r>
                      <a:endParaRPr lang="hr-HR" noProof="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077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r>
                        <a:rPr lang="hr-HR" sz="1600" b="1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stavlja osobu ovlaštenu od strane DB E&amp;C za njezino zastupanje</a:t>
                      </a:r>
                      <a:endParaRPr lang="hr-HR" sz="1600" b="1" noProof="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r>
                        <a:rPr lang="hr-HR" sz="1600" b="1" noProof="0" dirty="0"/>
                        <a:t>Predstavlja voditelja</a:t>
                      </a:r>
                      <a:r>
                        <a:rPr lang="hr-HR" sz="1600" b="1" baseline="0" noProof="0" dirty="0"/>
                        <a:t> projekta i stručnjaka za FIDIC ugovore</a:t>
                      </a:r>
                      <a:endParaRPr lang="hr-HR" sz="1600" b="1" noProof="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r>
                        <a:rPr lang="hr-HR" sz="1600" b="1" noProof="0" dirty="0"/>
                        <a:t>Predstavlja nadzornog inženjera prema</a:t>
                      </a:r>
                      <a:r>
                        <a:rPr lang="hr-HR" sz="1600" b="1" baseline="0" noProof="0" dirty="0"/>
                        <a:t> važečem zakonu o gradnji</a:t>
                      </a:r>
                      <a:endParaRPr lang="hr-HR" sz="1600" b="1" noProof="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466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r>
                        <a:rPr lang="hr-HR" sz="16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thodno odobrenje direktora projekta nužno je u sljedećim slučajevima:</a:t>
                      </a:r>
                    </a:p>
                    <a:p>
                      <a:pPr marL="285750" lvl="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hr-HR" sz="15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d bilo kakve promjene/ izmjene/ dopune osnovnog Ugovora;</a:t>
                      </a:r>
                    </a:p>
                    <a:p>
                      <a:pPr marL="285750" lvl="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hr-HR" sz="15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koliko aktivnosti ili postupci mogu dovesti do bilo kakve promjene/ izmjene/ dopune osnovnog Ugovora;</a:t>
                      </a:r>
                    </a:p>
                    <a:p>
                      <a:pPr marL="285750" lvl="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hr-HR" sz="15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tupanja ovlasti i dužnosti unutar tima Inženjera;</a:t>
                      </a:r>
                    </a:p>
                    <a:p>
                      <a:pPr marL="285750" lvl="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hr-HR" sz="15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dobrenje dokumenata prije samog slanja Naručitelju i Izvođaču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r>
                        <a:rPr lang="hr-HR" sz="1600" noProof="0" dirty="0"/>
                        <a:t>Voditelj projekta odgovoran je za</a:t>
                      </a:r>
                      <a:r>
                        <a:rPr lang="hr-HR" sz="1600" baseline="0" noProof="0" dirty="0"/>
                        <a:t>: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5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veukupnu integracijom procesa upravljanja projektima uključivši, ali ne ograničavajući se na: upravljanje projektom, vremenom, troškovima, kvalitetom, ljudskim resursima, komunikacijom, rizicima, dionicima na projektu, upravljanje zahtjevima;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5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dgovoran za provedbu ugovora, te praćenje i kontrolu izvršenja obveza definiranih ugovorom. 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5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dobrenje dokumenata prije samog slanja Naručitelju i Izvođaču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B Office"/>
                        </a:defRPr>
                      </a:lvl9pPr>
                    </a:lstStyle>
                    <a:p>
                      <a:pPr lvl="0"/>
                      <a:r>
                        <a:rPr lang="hr-H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avni</a:t>
                      </a:r>
                      <a:r>
                        <a:rPr lang="hr-HR" sz="16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adzorni inženjer odgovoran je za</a:t>
                      </a:r>
                      <a:r>
                        <a:rPr lang="hr-H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hr-HR" sz="13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edbu Ugovora na terenu u skladu sa važećim nacionalnim zakonodavstvom i regulativom (Zakonom, o gradnji, Pravilnikom o načinu provedbe stručnog nadzora građenja, obrascu, uvjetima i načinu vođenja građevinskog dnevnika te o sadržaju završnog izvješća nadzornog inženjera, itd.);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hr-HR" sz="13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dgovoran je za cjelovitost i međusobnu usklađenost stručnog nadzora građenja i dužan je o tome sastaviti završno izvješće;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hr-HR" sz="13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ordinaciju nadzornog tima na terenu tijekom nadziranja građenja, te optimizaciju resursa u skladu sa potrebama projekta;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hr-HR" sz="13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maže Voditelju projekta u upravljanju projektom.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C96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8" name="Grafik 10">
            <a:extLst>
              <a:ext uri="{FF2B5EF4-FFF2-40B4-BE49-F238E27FC236}">
                <a16:creationId xmlns:a16="http://schemas.microsoft.com/office/drawing/2014/main" xmlns="" id="{797BC521-0E62-4D5D-9132-D041AADD023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t="-1" b="-1"/>
          <a:stretch/>
        </p:blipFill>
        <p:spPr>
          <a:xfrm>
            <a:off x="8316416" y="166177"/>
            <a:ext cx="540000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446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/>
          <a:lstStyle/>
          <a:p>
            <a:r>
              <a:rPr lang="hr-HR" sz="3600" b="1" dirty="0"/>
              <a:t>Tehnička i projektantska pitanja</a:t>
            </a:r>
            <a:endParaRPr lang="en-US" sz="3600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7</a:t>
            </a:fld>
            <a:endParaRPr lang="hr-HR" altLang="sr-Latn-R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5400000">
            <a:off x="2051643" y="-510427"/>
            <a:ext cx="5040716" cy="8208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xmlns="" id="{797BC521-0E62-4D5D-9132-D041AADD02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t="-1" b="-1"/>
          <a:stretch/>
        </p:blipFill>
        <p:spPr>
          <a:xfrm>
            <a:off x="8316416" y="166177"/>
            <a:ext cx="540000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900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/>
          <a:lstStyle/>
          <a:p>
            <a:r>
              <a:rPr lang="hr-HR" sz="3600" b="1" dirty="0"/>
              <a:t>Kontrola kvalitete</a:t>
            </a:r>
            <a:endParaRPr lang="en-US" sz="3600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8</a:t>
            </a:fld>
            <a:endParaRPr lang="hr-HR" altLang="sr-Latn-R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554021" y="-1027292"/>
            <a:ext cx="4032449" cy="8912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xmlns="" id="{797BC521-0E62-4D5D-9132-D041AADD02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t="-1" b="-1"/>
          <a:stretch/>
        </p:blipFill>
        <p:spPr>
          <a:xfrm>
            <a:off x="8316416" y="166177"/>
            <a:ext cx="540000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758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06090"/>
          </a:xfrm>
        </p:spPr>
        <p:txBody>
          <a:bodyPr/>
          <a:lstStyle/>
          <a:p>
            <a:r>
              <a:rPr lang="hr-HR" sz="3600" b="1" dirty="0"/>
              <a:t>Administrativni postupci </a:t>
            </a:r>
            <a:endParaRPr lang="en-US" sz="3600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9</a:t>
            </a:fld>
            <a:endParaRPr lang="hr-HR" altLang="sr-Latn-RS"/>
          </a:p>
        </p:txBody>
      </p:sp>
      <p:pic>
        <p:nvPicPr>
          <p:cNvPr id="6" name="Picture 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rot="5400000">
            <a:off x="3659310" y="-2715095"/>
            <a:ext cx="1897386" cy="871296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93203" y="2492896"/>
            <a:ext cx="8229600" cy="70609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sz="3600" b="1" dirty="0"/>
              <a:t>Komunikacija</a:t>
            </a:r>
            <a:endParaRPr lang="en-US" sz="3600" b="1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028950" y="358081"/>
            <a:ext cx="3084513" cy="8650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xmlns="" id="{797BC521-0E62-4D5D-9132-D041AADD02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t="-1" b="-1"/>
          <a:stretch/>
        </p:blipFill>
        <p:spPr>
          <a:xfrm>
            <a:off x="8316416" y="166177"/>
            <a:ext cx="540000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3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Danijela Kos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7742FF3-B87A-45D6-9A3E-D782A254165A}" type="slidenum">
              <a:rPr lang="hr-HR" altLang="sr-Latn-RS" smtClean="0"/>
              <a:pPr>
                <a:defRPr/>
              </a:pPr>
              <a:t>2</a:t>
            </a:fld>
            <a:endParaRPr lang="hr-HR" altLang="sr-Latn-R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46054" y="1268760"/>
            <a:ext cx="9190053" cy="4865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107504" y="260648"/>
            <a:ext cx="57606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b="1" dirty="0">
                <a:solidFill>
                  <a:srgbClr val="0070C0"/>
                </a:solidFill>
              </a:rPr>
              <a:t>PROJEKT MODERNIZACIJE I ELEKTRIFIKACIJE</a:t>
            </a:r>
            <a:br>
              <a:rPr lang="hr-HR" b="1" dirty="0">
                <a:solidFill>
                  <a:srgbClr val="0070C0"/>
                </a:solidFill>
              </a:rPr>
            </a:br>
            <a:r>
              <a:rPr lang="hr-HR" b="1" dirty="0">
                <a:solidFill>
                  <a:srgbClr val="0070C0"/>
                </a:solidFill>
              </a:rPr>
              <a:t>ŽELJEZNICKE PRUGE ZAPREŠIC – ZABOK</a:t>
            </a:r>
            <a:br>
              <a:rPr lang="hr-HR" b="1" dirty="0">
                <a:solidFill>
                  <a:srgbClr val="0070C0"/>
                </a:solidFill>
              </a:rPr>
            </a:br>
            <a:r>
              <a:rPr lang="hr-HR" b="1" dirty="0">
                <a:solidFill>
                  <a:srgbClr val="0070C0"/>
                </a:solidFill>
              </a:rPr>
              <a:t>(R201 Zaprešić – Bedekovčina – Čakovec)</a:t>
            </a:r>
            <a:endParaRPr lang="en-US" dirty="0">
              <a:solidFill>
                <a:srgbClr val="0070C0"/>
              </a:solidFill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00467" y="0"/>
            <a:ext cx="3123494" cy="901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99251" y="901543"/>
            <a:ext cx="2864382" cy="901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48711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20</a:t>
            </a:fld>
            <a:endParaRPr lang="hr-HR" altLang="sr-Latn-RS"/>
          </a:p>
        </p:txBody>
      </p:sp>
      <p:grpSp>
        <p:nvGrpSpPr>
          <p:cNvPr id="13" name="Group 12"/>
          <p:cNvGrpSpPr/>
          <p:nvPr/>
        </p:nvGrpSpPr>
        <p:grpSpPr>
          <a:xfrm>
            <a:off x="14883" y="1556792"/>
            <a:ext cx="9118451" cy="3888432"/>
            <a:chOff x="293465" y="908720"/>
            <a:chExt cx="11530340" cy="5268069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93465" y="908720"/>
              <a:ext cx="11530340" cy="5268069"/>
            </a:xfrm>
            <a:prstGeom prst="rect">
              <a:avLst/>
            </a:pr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0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647310" y="1988840"/>
              <a:ext cx="2617042" cy="3600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4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564461" y="1988840"/>
              <a:ext cx="2148163" cy="2552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79776" y="1982766"/>
              <a:ext cx="2304256" cy="1498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/>
          <a:lstStyle/>
          <a:p>
            <a:r>
              <a:rPr lang="hr-HR" sz="3600" b="1" dirty="0"/>
              <a:t>SharePoint</a:t>
            </a:r>
            <a:endParaRPr lang="en-US" sz="3600" b="1" dirty="0"/>
          </a:p>
        </p:txBody>
      </p:sp>
      <p:pic>
        <p:nvPicPr>
          <p:cNvPr id="15" name="Grafik 10">
            <a:extLst>
              <a:ext uri="{FF2B5EF4-FFF2-40B4-BE49-F238E27FC236}">
                <a16:creationId xmlns:a16="http://schemas.microsoft.com/office/drawing/2014/main" xmlns="" id="{797BC521-0E62-4D5D-9132-D041AADD023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 t="-1" b="-1"/>
          <a:stretch/>
        </p:blipFill>
        <p:spPr>
          <a:xfrm>
            <a:off x="8316416" y="166177"/>
            <a:ext cx="540000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7290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b="1" dirty="0"/>
              <a:t>Kolodvor Novi Dvori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9422" y="1196752"/>
            <a:ext cx="7543800" cy="4955367"/>
          </a:xfrm>
          <a:prstGeom prst="rect">
            <a:avLst/>
          </a:prstGeom>
        </p:spPr>
      </p:pic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</p:spTree>
    <p:extLst>
      <p:ext uri="{BB962C8B-B14F-4D97-AF65-F5344CB8AC3E}">
        <p14:creationId xmlns:p14="http://schemas.microsoft.com/office/powerpoint/2010/main" val="11750280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9422" y="1124744"/>
            <a:ext cx="7543800" cy="484651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hr-HR" b="1" dirty="0"/>
              <a:t>Kolodvor Novi Dvori</a:t>
            </a:r>
            <a:endParaRPr lang="en-US" b="1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</p:spTree>
    <p:extLst>
      <p:ext uri="{BB962C8B-B14F-4D97-AF65-F5344CB8AC3E}">
        <p14:creationId xmlns:p14="http://schemas.microsoft.com/office/powerpoint/2010/main" val="17288213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9422" y="1124744"/>
            <a:ext cx="7543800" cy="4857395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hr-HR" b="1" dirty="0"/>
              <a:t>Kolodvor Novi Dvori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094980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hr-HR" b="1" dirty="0"/>
              <a:t>Kolodvor </a:t>
            </a:r>
            <a:r>
              <a:rPr lang="hr-HR" b="1" dirty="0" smtClean="0"/>
              <a:t>Veliko Trgovišće</a:t>
            </a:r>
            <a:endParaRPr lang="en-US" b="1" dirty="0"/>
          </a:p>
        </p:txBody>
      </p:sp>
      <p:pic>
        <p:nvPicPr>
          <p:cNvPr id="4098" name="Picture 2" descr="C:\Users\VajdicM\OneDrive - DB Engineering &amp; Consulting GmbH\Privat\New folder\20190604_1427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68760"/>
            <a:ext cx="4066674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VajdicM\OneDrive - DB Engineering &amp; Consulting GmbH\Privat\New folder\20190604_14304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149" y="1268760"/>
            <a:ext cx="4066674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VajdicM\OneDrive - DB Engineering &amp; Consulting GmbH\Privat\New folder\20190604_14295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789040"/>
            <a:ext cx="4066674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C:\Users\VajdicM\OneDrive - DB Engineering &amp; Consulting GmbH\Privat\New folder\20190604_14270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049" y="3789040"/>
            <a:ext cx="4066674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85892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6632" y="1196752"/>
            <a:ext cx="7543800" cy="487916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hr-HR" b="1" dirty="0"/>
              <a:t>Kolodvor Zabok</a:t>
            </a:r>
            <a:endParaRPr lang="en-US" b="1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</p:spTree>
    <p:extLst>
      <p:ext uri="{BB962C8B-B14F-4D97-AF65-F5344CB8AC3E}">
        <p14:creationId xmlns:p14="http://schemas.microsoft.com/office/powerpoint/2010/main" val="38673214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5021" y="1196752"/>
            <a:ext cx="3402378" cy="2185856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hr-HR" b="1" dirty="0"/>
              <a:t>Kolodvor Zabok</a:t>
            </a:r>
            <a:endParaRPr lang="en-US" b="1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pic>
        <p:nvPicPr>
          <p:cNvPr id="3074" name="Picture 2" descr="C:\Users\VajdicM\OneDrive - DB Engineering &amp; Consulting GmbH\Privat\New folder\20190604_14055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40" y="3514486"/>
            <a:ext cx="3887741" cy="218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VajdicM\OneDrive - DB Engineering &amp; Consulting GmbH\Privat\New folder\20190604_14111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973" y="1188557"/>
            <a:ext cx="3887741" cy="218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VajdicM\OneDrive - DB Engineering &amp; Consulting GmbH\Privat\New folder\20190604_14080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1062" y="3514486"/>
            <a:ext cx="3887740" cy="2185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1599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b="1" dirty="0"/>
              <a:t>Radovi na gornjem ustroju</a:t>
            </a:r>
            <a:endParaRPr lang="en-US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  <a14:imgEffect>
                      <a14:saturation sat="10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200" y="1340768"/>
            <a:ext cx="4114800" cy="41148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72" y="1340768"/>
            <a:ext cx="5024028" cy="4114800"/>
          </a:xfrm>
          <a:prstGeom prst="rect">
            <a:avLst/>
          </a:prstGeom>
        </p:spPr>
      </p:pic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</p:spTree>
    <p:extLst>
      <p:ext uri="{BB962C8B-B14F-4D97-AF65-F5344CB8AC3E}">
        <p14:creationId xmlns:p14="http://schemas.microsoft.com/office/powerpoint/2010/main" val="29237347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3000" y="1434346"/>
            <a:ext cx="6858000" cy="4874975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hr-HR" b="1" dirty="0"/>
              <a:t>Radovi na gornjem ustroju</a:t>
            </a:r>
            <a:endParaRPr lang="en-US" b="1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</p:spTree>
    <p:extLst>
      <p:ext uri="{BB962C8B-B14F-4D97-AF65-F5344CB8AC3E}">
        <p14:creationId xmlns:p14="http://schemas.microsoft.com/office/powerpoint/2010/main" val="15876961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hr-HR" b="1" dirty="0"/>
              <a:t>Radovi na gornjem ustroju</a:t>
            </a:r>
            <a:endParaRPr lang="en-US" b="1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40" y="1399024"/>
            <a:ext cx="4064000" cy="2286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399024"/>
            <a:ext cx="4064000" cy="2286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859128"/>
            <a:ext cx="4064000" cy="2286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84" y="3861048"/>
            <a:ext cx="4064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617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222788" y="870879"/>
            <a:ext cx="7373548" cy="3370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hr-HR" altLang="sr-Latn-RS" sz="1600" b="1" dirty="0">
                <a:solidFill>
                  <a:srgbClr val="0070C0"/>
                </a:solidFill>
                <a:latin typeface="Arial" panose="020B0604020202020204" pitchFamily="34" charset="0"/>
              </a:rPr>
              <a:t>dvije županije</a:t>
            </a: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: Zagrebačka i Krapinsko-zagorska županija 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ukupna duljina dionice </a:t>
            </a:r>
            <a:r>
              <a:rPr lang="hr-HR" altLang="sr-Latn-RS" sz="1600" b="1" dirty="0">
                <a:solidFill>
                  <a:srgbClr val="0070C0"/>
                </a:solidFill>
                <a:latin typeface="Arial" panose="020B0604020202020204" pitchFamily="34" charset="0"/>
              </a:rPr>
              <a:t>23,8 km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najveća dopuštena masa vlakova prema modelu opterećenja </a:t>
            </a:r>
            <a:r>
              <a:rPr lang="hr-HR" altLang="sr-Latn-RS" sz="1600" b="1" dirty="0">
                <a:solidFill>
                  <a:srgbClr val="0070C0"/>
                </a:solidFill>
                <a:latin typeface="Arial" panose="020B0604020202020204" pitchFamily="34" charset="0"/>
              </a:rPr>
              <a:t>B2</a:t>
            </a: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(</a:t>
            </a:r>
            <a:r>
              <a:rPr lang="hr-HR" altLang="sr-Latn-RS" sz="1600" b="1" dirty="0">
                <a:solidFill>
                  <a:srgbClr val="0070C0"/>
                </a:solidFill>
                <a:latin typeface="Arial" panose="020B0604020202020204" pitchFamily="34" charset="0"/>
              </a:rPr>
              <a:t>18,0 t/o i 6,4 t/m</a:t>
            </a: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) 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zadnji remont izveden u razdoblju od </a:t>
            </a:r>
            <a:r>
              <a:rPr lang="hr-HR" altLang="sr-Latn-RS" sz="1600" b="1" dirty="0">
                <a:solidFill>
                  <a:srgbClr val="0070C0"/>
                </a:solidFill>
                <a:latin typeface="Arial" panose="020B0604020202020204" pitchFamily="34" charset="0"/>
              </a:rPr>
              <a:t>1977. do 1981. rabljenim gradivom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brzina prije početka radova: Zaprešić – Veliko </a:t>
            </a:r>
            <a:r>
              <a:rPr lang="hr-HR" altLang="sr-Latn-R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Trgovišće</a:t>
            </a: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hr-HR" altLang="sr-Latn-RS" sz="1600" b="1" dirty="0">
                <a:solidFill>
                  <a:srgbClr val="0070C0"/>
                </a:solidFill>
                <a:latin typeface="Arial" panose="020B0604020202020204" pitchFamily="34" charset="0"/>
              </a:rPr>
              <a:t>60 km/h</a:t>
            </a: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, a Veliko </a:t>
            </a:r>
            <a:r>
              <a:rPr lang="hr-HR" altLang="sr-Latn-R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Trgovišće</a:t>
            </a: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– Zabok </a:t>
            </a:r>
            <a:r>
              <a:rPr lang="hr-HR" altLang="sr-Latn-RS" sz="1600" b="1" dirty="0">
                <a:solidFill>
                  <a:srgbClr val="0070C0"/>
                </a:solidFill>
                <a:latin typeface="Arial" panose="020B0604020202020204" pitchFamily="34" charset="0"/>
              </a:rPr>
              <a:t>40 km/h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nemoguće povećati brzinu manjim zahvatima i pojačanim održavanjem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projektni zadatak 2010., projektiranje Glavnog projekta 2013. - 2016./2017.</a:t>
            </a:r>
            <a:endParaRPr lang="hr-HR" altLang="sr-Latn-R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 dirty="0">
                <a:latin typeface="Arial Narrow" panose="020B0606020202030204" pitchFamily="34" charset="0"/>
              </a:rPr>
              <a:t>Danijela Kosty</a:t>
            </a: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3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9881"/>
            <a:ext cx="7035602" cy="56080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4000" b="1" dirty="0">
                <a:solidFill>
                  <a:srgbClr val="0070C0"/>
                </a:solidFill>
              </a:rPr>
              <a:t>Osnovni podaci o dionici</a:t>
            </a: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 flipV="1">
            <a:off x="539552" y="620688"/>
            <a:ext cx="6953250" cy="0"/>
          </a:xfrm>
          <a:prstGeom prst="line">
            <a:avLst/>
          </a:prstGeom>
          <a:noFill/>
          <a:ln w="15875">
            <a:solidFill>
              <a:srgbClr val="4F81B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TekstniOkvir 5"/>
          <p:cNvSpPr txBox="1">
            <a:spLocks noChangeArrowheads="1"/>
          </p:cNvSpPr>
          <p:nvPr/>
        </p:nvSpPr>
        <p:spPr bwMode="auto">
          <a:xfrm>
            <a:off x="4427538" y="5013325"/>
            <a:ext cx="7302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hr-HR" altLang="sr-Latn-RS" sz="1800"/>
          </a:p>
        </p:txBody>
      </p:sp>
      <p:pic>
        <p:nvPicPr>
          <p:cNvPr id="1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2976641"/>
            <a:ext cx="10858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340768"/>
            <a:ext cx="10858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389" y="4722019"/>
            <a:ext cx="10858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Slika 1">
            <a:extLst>
              <a:ext uri="{FF2B5EF4-FFF2-40B4-BE49-F238E27FC236}">
                <a16:creationId xmlns:a16="http://schemas.microsoft.com/office/drawing/2014/main" xmlns="" id="{7931B0EB-3998-41E9-B726-217F469CE0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572" y="4381072"/>
            <a:ext cx="2511793" cy="1908000"/>
          </a:xfrm>
          <a:prstGeom prst="rect">
            <a:avLst/>
          </a:prstGeom>
        </p:spPr>
      </p:pic>
      <p:pic>
        <p:nvPicPr>
          <p:cNvPr id="17" name="Slika 16">
            <a:extLst>
              <a:ext uri="{FF2B5EF4-FFF2-40B4-BE49-F238E27FC236}">
                <a16:creationId xmlns:a16="http://schemas.microsoft.com/office/drawing/2014/main" xmlns="" id="{494AF982-5075-4D70-A430-48FF5759243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20271" y="4525072"/>
            <a:ext cx="2451467" cy="1764000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8" name="Picture 13">
            <a:extLst>
              <a:ext uri="{FF2B5EF4-FFF2-40B4-BE49-F238E27FC236}">
                <a16:creationId xmlns:a16="http://schemas.microsoft.com/office/drawing/2014/main" xmlns="" id="{B289DA1B-A153-49C7-84D2-1BA84B699F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59881"/>
            <a:ext cx="23034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676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644" y="1268760"/>
            <a:ext cx="6372708" cy="4779531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hr-HR" b="1" dirty="0"/>
              <a:t>Radovi na donjem ustroju</a:t>
            </a:r>
            <a:endParaRPr lang="en-US" b="1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pPr>
              <a:defRPr/>
            </a:pPr>
            <a:r>
              <a:rPr lang="hr-HR" altLang="sr-Latn-RS" dirty="0"/>
              <a:t>Marko Vajdić</a:t>
            </a:r>
          </a:p>
        </p:txBody>
      </p:sp>
    </p:spTree>
    <p:extLst>
      <p:ext uri="{BB962C8B-B14F-4D97-AF65-F5344CB8AC3E}">
        <p14:creationId xmlns:p14="http://schemas.microsoft.com/office/powerpoint/2010/main" val="12370331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1</a:t>
            </a:fld>
            <a:endParaRPr lang="hr-HR" altLang="sr-Latn-RS"/>
          </a:p>
        </p:txBody>
      </p:sp>
      <p:sp>
        <p:nvSpPr>
          <p:cNvPr id="11" name="Titelbox">
            <a:extLst>
              <a:ext uri="{FF2B5EF4-FFF2-40B4-BE49-F238E27FC236}">
                <a16:creationId xmlns:a16="http://schemas.microsoft.com/office/drawing/2014/main" xmlns="" id="{1F70F5AE-DA5B-4C6E-A009-7B1DE0A5DB6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28187" y="4733624"/>
            <a:ext cx="11611840" cy="397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de-DE" sz="2400" b="1" dirty="0">
                <a:solidFill>
                  <a:schemeClr val="bg1"/>
                </a:solidFill>
              </a:defRPr>
            </a:lvl1pPr>
            <a:lvl2pPr algn="l">
              <a:defRPr sz="2000" b="1">
                <a:solidFill>
                  <a:schemeClr val="tx2"/>
                </a:solidFill>
              </a:defRPr>
            </a:lvl2pPr>
            <a:lvl3pPr algn="l">
              <a:defRPr sz="2000" b="1">
                <a:solidFill>
                  <a:schemeClr val="tx2"/>
                </a:solidFill>
              </a:defRPr>
            </a:lvl3pPr>
            <a:lvl4pPr algn="l">
              <a:defRPr sz="2000" b="1">
                <a:solidFill>
                  <a:schemeClr val="tx2"/>
                </a:solidFill>
              </a:defRPr>
            </a:lvl4pPr>
            <a:lvl5pPr algn="l">
              <a:defRPr sz="2000" b="1">
                <a:solidFill>
                  <a:schemeClr val="tx2"/>
                </a:solidFill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</a:defRPr>
            </a:lvl9pPr>
          </a:lstStyle>
          <a:p>
            <a:r>
              <a:rPr lang="hr-HR" sz="3200" dirty="0">
                <a:solidFill>
                  <a:srgbClr val="FF0000"/>
                </a:solidFill>
              </a:rPr>
              <a:t>Geotehnički studio d.o.o.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2" name="Untertitelbox">
            <a:extLst>
              <a:ext uri="{FF2B5EF4-FFF2-40B4-BE49-F238E27FC236}">
                <a16:creationId xmlns:a16="http://schemas.microsoft.com/office/drawing/2014/main" xmlns="" id="{1F852056-9BCE-4C17-BC2F-1995408F8EC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28187" y="5231035"/>
            <a:ext cx="8592286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de-DE" sz="2400">
                <a:solidFill>
                  <a:schemeClr val="bg1"/>
                </a:solidFill>
              </a:defRPr>
            </a:lvl1pPr>
            <a:lvl2pPr marL="185738" indent="-184150" algn="l">
              <a:buClr>
                <a:srgbClr val="FF0000"/>
              </a:buClr>
              <a:buSzPct val="85000"/>
              <a:buFont typeface="Wingdings" pitchFamily="2" charset="2"/>
              <a:buChar char="n"/>
            </a:lvl2pPr>
            <a:lvl3pPr marL="358775" indent="-171450" algn="l">
              <a:buClr>
                <a:srgbClr val="FF0000"/>
              </a:buClr>
              <a:buChar char="–"/>
            </a:lvl3pPr>
            <a:lvl4pPr marL="544513" indent="-184150" algn="l">
              <a:buClr>
                <a:srgbClr val="FF0000"/>
              </a:buClr>
              <a:buFont typeface="Wingdings" pitchFamily="2" charset="2"/>
              <a:buChar char="§"/>
            </a:lvl4pPr>
            <a:lvl5pPr marL="728663" indent="-182563" algn="l">
              <a:buClr>
                <a:srgbClr val="FF0000"/>
              </a:buClr>
              <a:buChar char="–"/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>
                <a:latin typeface="+mn-lt"/>
              </a:defRPr>
            </a:lvl9pPr>
          </a:lstStyle>
          <a:p>
            <a:r>
              <a:rPr lang="hr-HR" sz="3000" dirty="0">
                <a:solidFill>
                  <a:schemeClr val="tx1"/>
                </a:solidFill>
              </a:rPr>
              <a:t>Nadzor radova na izvođenju geotehničkih građevina</a:t>
            </a:r>
            <a:endParaRPr lang="en-US" sz="3000" dirty="0">
              <a:solidFill>
                <a:schemeClr val="tx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11559" y="1204865"/>
            <a:ext cx="7479343" cy="3448271"/>
            <a:chOff x="348384" y="191424"/>
            <a:chExt cx="8771951" cy="4437599"/>
          </a:xfrm>
        </p:grpSpPr>
        <p:pic>
          <p:nvPicPr>
            <p:cNvPr id="9" name="Picture 402" descr="https://upload.wikimedia.org/wikipedia/commons/thumb/5/5f/Zeljeznicki_kolodvor_Zapresic.jpg/1280px-Zeljeznicki_kolodvor_Zapresic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061846">
              <a:off x="544740" y="2251583"/>
              <a:ext cx="3174887" cy="237744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0" name="Picture 404" descr="https://upload.wikimedia.org/wikipedia/commons/thumb/9/9b/Zabok_%28Bahnhof%29.jpg/1280px-Zabok_%28Bahnhof%29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761330">
              <a:off x="3306158" y="191424"/>
              <a:ext cx="2686443" cy="201168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3" name="Picture 400" descr="Slikovni rezultat za Zapresic - Zabok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92410">
              <a:off x="348384" y="223626"/>
              <a:ext cx="3928357" cy="260570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4" name="Picture 406" descr="https://upload.wikimedia.org/wikipedia/commons/thumb/e/ee/Veliko_Trgovi%C5%A1%C4%87e_%28Bahnhof%29.jpg/1280px-Veliko_Trgovi%C5%A1%C4%87e_%28Bahnhof%29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39713">
              <a:off x="3262913" y="1874687"/>
              <a:ext cx="3052778" cy="22860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5" name="Picture 399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0718" y="810272"/>
              <a:ext cx="3069617" cy="278471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</p:spPr>
        </p:pic>
      </p:grpSp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890" y="29807"/>
            <a:ext cx="721201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08113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8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C8072C3-CC31-4BF2-9FFE-CE06FB292E7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2</a:t>
            </a:fld>
            <a:endParaRPr lang="hr-HR" altLang="sr-Latn-R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5AE8802F-DFFA-423A-9D57-34E8DF3885BA}"/>
              </a:ext>
            </a:extLst>
          </p:cNvPr>
          <p:cNvGrpSpPr/>
          <p:nvPr/>
        </p:nvGrpSpPr>
        <p:grpSpPr>
          <a:xfrm>
            <a:off x="827584" y="676139"/>
            <a:ext cx="3456384" cy="6124446"/>
            <a:chOff x="1763688" y="495428"/>
            <a:chExt cx="3456384" cy="6124446"/>
          </a:xfrm>
        </p:grpSpPr>
        <p:pic>
          <p:nvPicPr>
            <p:cNvPr id="10" name="Picture 9" descr="A picture containing text, map&#10;&#10;Description automatically generated">
              <a:extLst>
                <a:ext uri="{FF2B5EF4-FFF2-40B4-BE49-F238E27FC236}">
                  <a16:creationId xmlns:a16="http://schemas.microsoft.com/office/drawing/2014/main" xmlns="" id="{AD1E96FA-ED09-4C85-9D6B-0C0E2E494C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763688" y="1844823"/>
              <a:ext cx="2951361" cy="4775051"/>
            </a:xfrm>
            <a:prstGeom prst="rect">
              <a:avLst/>
            </a:prstGeom>
          </p:spPr>
        </p:pic>
        <p:pic>
          <p:nvPicPr>
            <p:cNvPr id="12" name="Picture 11" descr="A picture containing text, map&#10;&#10;Description automatically generated">
              <a:extLst>
                <a:ext uri="{FF2B5EF4-FFF2-40B4-BE49-F238E27FC236}">
                  <a16:creationId xmlns:a16="http://schemas.microsoft.com/office/drawing/2014/main" xmlns="" id="{B457DF23-2DB2-4881-85CF-96FB39B5A9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556743" y="495428"/>
              <a:ext cx="2663329" cy="1351966"/>
            </a:xfrm>
            <a:prstGeom prst="rect">
              <a:avLst/>
            </a:prstGeom>
          </p:spPr>
        </p:pic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7A126762-C478-461B-AE38-E766C6551B7D}"/>
              </a:ext>
            </a:extLst>
          </p:cNvPr>
          <p:cNvSpPr txBox="1">
            <a:spLocks/>
          </p:cNvSpPr>
          <p:nvPr/>
        </p:nvSpPr>
        <p:spPr>
          <a:xfrm>
            <a:off x="4498579" y="1700808"/>
            <a:ext cx="4506993" cy="252028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dominantno aluvijalni nanos rijeke Krapine</a:t>
            </a:r>
          </a:p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podređeno </a:t>
            </a:r>
            <a:r>
              <a:rPr lang="hr-HR" sz="2400" b="1" dirty="0" err="1"/>
              <a:t>glinoviti</a:t>
            </a:r>
            <a:r>
              <a:rPr lang="hr-HR" sz="2400" b="1" dirty="0"/>
              <a:t> </a:t>
            </a:r>
            <a:r>
              <a:rPr lang="hr-HR" sz="2400" b="1" dirty="0" err="1"/>
              <a:t>silt</a:t>
            </a:r>
            <a:r>
              <a:rPr lang="hr-HR" sz="2400" b="1" dirty="0"/>
              <a:t> / lapor</a:t>
            </a:r>
          </a:p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visoke razine podzemne vod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713525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3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pic>
        <p:nvPicPr>
          <p:cNvPr id="13" name="Picture 12" descr="A close up of a map&#10;&#10;Description automatically generated">
            <a:extLst>
              <a:ext uri="{FF2B5EF4-FFF2-40B4-BE49-F238E27FC236}">
                <a16:creationId xmlns:a16="http://schemas.microsoft.com/office/drawing/2014/main" xmlns="" id="{D413F864-3707-499A-86C4-BA718DA036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3528" y="1973992"/>
            <a:ext cx="5389115" cy="4248472"/>
          </a:xfrm>
          <a:prstGeom prst="rect">
            <a:avLst/>
          </a:prstGeom>
        </p:spPr>
      </p:pic>
      <p:pic>
        <p:nvPicPr>
          <p:cNvPr id="15" name="Picture 14" descr="A close up of a map&#10;&#10;Description automatically generated">
            <a:extLst>
              <a:ext uri="{FF2B5EF4-FFF2-40B4-BE49-F238E27FC236}">
                <a16:creationId xmlns:a16="http://schemas.microsoft.com/office/drawing/2014/main" xmlns="" id="{88B77E10-6D01-472C-9C40-F0ED808AEE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220" y="1184325"/>
            <a:ext cx="2581980" cy="5052987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457200" y="764704"/>
            <a:ext cx="4506993" cy="122413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stalni i povremeni vodotoci</a:t>
            </a:r>
          </a:p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mrtvaji</a:t>
            </a:r>
          </a:p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 err="1"/>
              <a:t>zamočvareni</a:t>
            </a:r>
            <a:r>
              <a:rPr lang="hr-HR" sz="2400" b="1" dirty="0"/>
              <a:t> dijelovi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4171689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7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4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539552" y="1268760"/>
            <a:ext cx="8424936" cy="252028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zadržavanje postojeće trase</a:t>
            </a:r>
          </a:p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4 devijacije (8km, 9km, 11km, 13/14km) </a:t>
            </a:r>
          </a:p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temeljenje mostova (</a:t>
            </a:r>
            <a:r>
              <a:rPr lang="hr-HR" sz="2400" b="1" dirty="0" err="1"/>
              <a:t>Črnec</a:t>
            </a:r>
            <a:r>
              <a:rPr lang="hr-HR" sz="2400" b="1" dirty="0"/>
              <a:t>, </a:t>
            </a:r>
            <a:r>
              <a:rPr lang="hr-HR" sz="2400" b="1" dirty="0" err="1"/>
              <a:t>Vučerna</a:t>
            </a:r>
            <a:r>
              <a:rPr lang="hr-HR" sz="2400" b="1" dirty="0"/>
              <a:t>, </a:t>
            </a:r>
            <a:r>
              <a:rPr lang="hr-HR" sz="2400" b="1" dirty="0" err="1"/>
              <a:t>Luški</a:t>
            </a:r>
            <a:r>
              <a:rPr lang="hr-HR" sz="2400" b="1" dirty="0"/>
              <a:t> potok, </a:t>
            </a:r>
            <a:r>
              <a:rPr lang="hr-HR" sz="2400" b="1" dirty="0" err="1"/>
              <a:t>Horvacka</a:t>
            </a:r>
            <a:r>
              <a:rPr lang="hr-HR" sz="2400" b="1" dirty="0"/>
              <a:t> cestovni i željeznički,</a:t>
            </a:r>
          </a:p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kolodvori,</a:t>
            </a:r>
          </a:p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pothodnici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414825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7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5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12" name="Picture 11" descr="A picture containing sky, outdoor, ground&#10;&#10;Description automatically generated">
            <a:extLst>
              <a:ext uri="{FF2B5EF4-FFF2-40B4-BE49-F238E27FC236}">
                <a16:creationId xmlns:a16="http://schemas.microsoft.com/office/drawing/2014/main" xmlns="" id="{0AE1BCF6-9453-482A-BE62-9E026A9A51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068" y="1251522"/>
            <a:ext cx="6444208" cy="3132601"/>
          </a:xfrm>
          <a:prstGeom prst="rect">
            <a:avLst/>
          </a:prstGeom>
        </p:spPr>
      </p:pic>
      <p:pic>
        <p:nvPicPr>
          <p:cNvPr id="15" name="Picture 14" descr="A rocky beach&#10;&#10;Description automatically generated">
            <a:extLst>
              <a:ext uri="{FF2B5EF4-FFF2-40B4-BE49-F238E27FC236}">
                <a16:creationId xmlns:a16="http://schemas.microsoft.com/office/drawing/2014/main" xmlns="" id="{A6D4F2CA-E882-4672-8E17-BD672AAE8FD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55" y="3293783"/>
            <a:ext cx="5724128" cy="2782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773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6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dva modela</a:t>
            </a:r>
          </a:p>
          <a:p>
            <a:pPr marL="800100" lvl="1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40cm tampona + GTX + GM2</a:t>
            </a:r>
          </a:p>
          <a:p>
            <a:pPr marL="800100" lvl="1" indent="-342900" algn="l">
              <a:buFont typeface="Calibri" panose="020F0502020204030204" pitchFamily="34" charset="0"/>
              <a:buChar char="‒"/>
            </a:pPr>
            <a:r>
              <a:rPr lang="hr-HR" sz="2400" b="1" dirty="0"/>
              <a:t>40cm tampona + GTX + GM1 + GM2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xmlns="" id="{6DB19E6C-2E2A-418C-AC7C-0E42B7D72F6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0618643"/>
              </p:ext>
            </p:extLst>
          </p:nvPr>
        </p:nvGraphicFramePr>
        <p:xfrm>
          <a:off x="2263722" y="3958231"/>
          <a:ext cx="5267325" cy="1581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r:id="rId4" imgW="14782800" imgH="8162925" progId="AutoCAD.Drawing.18">
                  <p:embed/>
                </p:oleObj>
              </mc:Choice>
              <mc:Fallback>
                <p:oleObj r:id="rId4" imgW="14782800" imgH="8162925" progId="AutoCAD.Drawing.18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xmlns="" id="{6DB19E6C-2E2A-418C-AC7C-0E42B7D72F6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t="22134" b="22614"/>
                      <a:stretch>
                        <a:fillRect/>
                      </a:stretch>
                    </p:blipFill>
                    <p:spPr bwMode="auto">
                      <a:xfrm>
                        <a:off x="2263722" y="3958231"/>
                        <a:ext cx="5267325" cy="15811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xmlns="" id="{870BA116-A1E8-4054-94D8-AB8BCDE291B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96439189"/>
              </p:ext>
            </p:extLst>
          </p:nvPr>
        </p:nvGraphicFramePr>
        <p:xfrm>
          <a:off x="2220740" y="2254209"/>
          <a:ext cx="5267325" cy="1638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r:id="rId6" imgW="18211800" imgH="9124950" progId="AutoCAD.Drawing.20">
                  <p:embed/>
                </p:oleObj>
              </mc:Choice>
              <mc:Fallback>
                <p:oleObj r:id="rId6" imgW="18211800" imgH="9124950" progId="AutoCAD.Drawing.20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xmlns="" id="{870BA116-A1E8-4054-94D8-AB8BCDE291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t="19290" b="19621"/>
                      <a:stretch>
                        <a:fillRect/>
                      </a:stretch>
                    </p:blipFill>
                    <p:spPr bwMode="auto">
                      <a:xfrm>
                        <a:off x="2220740" y="2254209"/>
                        <a:ext cx="5267325" cy="16383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693ED4E8-F452-49F7-BB46-CA1713DCB8D6}"/>
              </a:ext>
            </a:extLst>
          </p:cNvPr>
          <p:cNvSpPr/>
          <p:nvPr/>
        </p:nvSpPr>
        <p:spPr>
          <a:xfrm>
            <a:off x="2252481" y="3128279"/>
            <a:ext cx="5184058" cy="545690"/>
          </a:xfrm>
          <a:custGeom>
            <a:avLst/>
            <a:gdLst>
              <a:gd name="connsiteX0" fmla="*/ 0 w 5184058"/>
              <a:gd name="connsiteY0" fmla="*/ 36871 h 545690"/>
              <a:gd name="connsiteX1" fmla="*/ 0 w 5184058"/>
              <a:gd name="connsiteY1" fmla="*/ 36871 h 545690"/>
              <a:gd name="connsiteX2" fmla="*/ 516194 w 5184058"/>
              <a:gd name="connsiteY2" fmla="*/ 0 h 545690"/>
              <a:gd name="connsiteX3" fmla="*/ 5184058 w 5184058"/>
              <a:gd name="connsiteY3" fmla="*/ 243348 h 545690"/>
              <a:gd name="connsiteX4" fmla="*/ 5176684 w 5184058"/>
              <a:gd name="connsiteY4" fmla="*/ 545690 h 545690"/>
              <a:gd name="connsiteX5" fmla="*/ 523568 w 5184058"/>
              <a:gd name="connsiteY5" fmla="*/ 339213 h 545690"/>
              <a:gd name="connsiteX6" fmla="*/ 0 w 5184058"/>
              <a:gd name="connsiteY6" fmla="*/ 368709 h 545690"/>
              <a:gd name="connsiteX7" fmla="*/ 0 w 5184058"/>
              <a:gd name="connsiteY7" fmla="*/ 36871 h 54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4058" h="545690">
                <a:moveTo>
                  <a:pt x="0" y="36871"/>
                </a:moveTo>
                <a:lnTo>
                  <a:pt x="0" y="36871"/>
                </a:lnTo>
                <a:lnTo>
                  <a:pt x="516194" y="0"/>
                </a:lnTo>
                <a:lnTo>
                  <a:pt x="5184058" y="243348"/>
                </a:lnTo>
                <a:lnTo>
                  <a:pt x="5176684" y="545690"/>
                </a:lnTo>
                <a:lnTo>
                  <a:pt x="523568" y="339213"/>
                </a:lnTo>
                <a:lnTo>
                  <a:pt x="0" y="368709"/>
                </a:lnTo>
                <a:lnTo>
                  <a:pt x="0" y="36871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E653CC5A-91A1-4C6C-A7F8-8E858AD62951}"/>
              </a:ext>
            </a:extLst>
          </p:cNvPr>
          <p:cNvCxnSpPr>
            <a:cxnSpLocks/>
          </p:cNvCxnSpPr>
          <p:nvPr/>
        </p:nvCxnSpPr>
        <p:spPr>
          <a:xfrm flipV="1">
            <a:off x="2133235" y="2856595"/>
            <a:ext cx="0" cy="64765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8A63F9EF-39AE-4762-9B5D-871422752AC8}"/>
              </a:ext>
            </a:extLst>
          </p:cNvPr>
          <p:cNvSpPr/>
          <p:nvPr/>
        </p:nvSpPr>
        <p:spPr>
          <a:xfrm>
            <a:off x="2304007" y="4793980"/>
            <a:ext cx="5184058" cy="545690"/>
          </a:xfrm>
          <a:custGeom>
            <a:avLst/>
            <a:gdLst>
              <a:gd name="connsiteX0" fmla="*/ 0 w 5184058"/>
              <a:gd name="connsiteY0" fmla="*/ 36871 h 545690"/>
              <a:gd name="connsiteX1" fmla="*/ 0 w 5184058"/>
              <a:gd name="connsiteY1" fmla="*/ 36871 h 545690"/>
              <a:gd name="connsiteX2" fmla="*/ 516194 w 5184058"/>
              <a:gd name="connsiteY2" fmla="*/ 0 h 545690"/>
              <a:gd name="connsiteX3" fmla="*/ 5184058 w 5184058"/>
              <a:gd name="connsiteY3" fmla="*/ 243348 h 545690"/>
              <a:gd name="connsiteX4" fmla="*/ 5176684 w 5184058"/>
              <a:gd name="connsiteY4" fmla="*/ 545690 h 545690"/>
              <a:gd name="connsiteX5" fmla="*/ 523568 w 5184058"/>
              <a:gd name="connsiteY5" fmla="*/ 339213 h 545690"/>
              <a:gd name="connsiteX6" fmla="*/ 0 w 5184058"/>
              <a:gd name="connsiteY6" fmla="*/ 368709 h 545690"/>
              <a:gd name="connsiteX7" fmla="*/ 0 w 5184058"/>
              <a:gd name="connsiteY7" fmla="*/ 36871 h 545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4058" h="545690">
                <a:moveTo>
                  <a:pt x="0" y="36871"/>
                </a:moveTo>
                <a:lnTo>
                  <a:pt x="0" y="36871"/>
                </a:lnTo>
                <a:lnTo>
                  <a:pt x="516194" y="0"/>
                </a:lnTo>
                <a:lnTo>
                  <a:pt x="5184058" y="243348"/>
                </a:lnTo>
                <a:lnTo>
                  <a:pt x="5176684" y="545690"/>
                </a:lnTo>
                <a:lnTo>
                  <a:pt x="523568" y="339213"/>
                </a:lnTo>
                <a:lnTo>
                  <a:pt x="0" y="368709"/>
                </a:lnTo>
                <a:lnTo>
                  <a:pt x="0" y="36871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FEBC61D0-DC6A-482C-AFAB-C67E8C6D410B}"/>
              </a:ext>
            </a:extLst>
          </p:cNvPr>
          <p:cNvSpPr txBox="1">
            <a:spLocks/>
          </p:cNvSpPr>
          <p:nvPr/>
        </p:nvSpPr>
        <p:spPr>
          <a:xfrm>
            <a:off x="1691680" y="2946664"/>
            <a:ext cx="504056" cy="31188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800" b="1" dirty="0"/>
              <a:t>70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4ECFD4C0-0AF9-42E9-B86E-D0D7CA0F0D7D}"/>
              </a:ext>
            </a:extLst>
          </p:cNvPr>
          <p:cNvCxnSpPr>
            <a:cxnSpLocks/>
          </p:cNvCxnSpPr>
          <p:nvPr/>
        </p:nvCxnSpPr>
        <p:spPr>
          <a:xfrm flipV="1">
            <a:off x="2123728" y="4509120"/>
            <a:ext cx="0" cy="64765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6F2BF9F6-5ACA-4B14-A8F8-19AA1019ECED}"/>
              </a:ext>
            </a:extLst>
          </p:cNvPr>
          <p:cNvSpPr txBox="1">
            <a:spLocks/>
          </p:cNvSpPr>
          <p:nvPr/>
        </p:nvSpPr>
        <p:spPr>
          <a:xfrm>
            <a:off x="1689670" y="4638038"/>
            <a:ext cx="504056" cy="311884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800" b="1" dirty="0"/>
              <a:t>70</a:t>
            </a:r>
          </a:p>
        </p:txBody>
      </p:sp>
    </p:spTree>
    <p:extLst>
      <p:ext uri="{BB962C8B-B14F-4D97-AF65-F5344CB8AC3E}">
        <p14:creationId xmlns:p14="http://schemas.microsoft.com/office/powerpoint/2010/main" val="458679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7" grpId="0"/>
      <p:bldP spid="10" grpId="0" animBg="1"/>
      <p:bldP spid="18" grpId="0" animBg="1"/>
      <p:bldP spid="19" grpId="0"/>
      <p:bldP spid="21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7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7" name="Picture 6" descr="A close up of a device&#10;&#10;Description automatically generated">
            <a:extLst>
              <a:ext uri="{FF2B5EF4-FFF2-40B4-BE49-F238E27FC236}">
                <a16:creationId xmlns:a16="http://schemas.microsoft.com/office/drawing/2014/main" xmlns="" id="{13CAB9A8-50D3-4029-B0C6-060AE9D0B3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915" y="1628800"/>
            <a:ext cx="4624121" cy="4077071"/>
          </a:xfrm>
          <a:prstGeom prst="rect">
            <a:avLst/>
          </a:prstGeom>
        </p:spPr>
      </p:pic>
      <p:pic>
        <p:nvPicPr>
          <p:cNvPr id="10" name="Picture 9" descr="A dirt path&#10;&#10;Description automatically generated">
            <a:extLst>
              <a:ext uri="{FF2B5EF4-FFF2-40B4-BE49-F238E27FC236}">
                <a16:creationId xmlns:a16="http://schemas.microsoft.com/office/drawing/2014/main" xmlns="" id="{C47A7D28-4C7A-4475-9F5A-31A5246347D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1069768"/>
            <a:ext cx="5297668" cy="2575256"/>
          </a:xfrm>
          <a:prstGeom prst="rect">
            <a:avLst/>
          </a:prstGeom>
        </p:spPr>
      </p:pic>
      <p:pic>
        <p:nvPicPr>
          <p:cNvPr id="14" name="Picture 13" descr="A close up of a dirt field&#10;&#10;Description automatically generated">
            <a:extLst>
              <a:ext uri="{FF2B5EF4-FFF2-40B4-BE49-F238E27FC236}">
                <a16:creationId xmlns:a16="http://schemas.microsoft.com/office/drawing/2014/main" xmlns="" id="{FBECA1C9-79AA-4223-AFB0-0721C0F6376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3750034"/>
            <a:ext cx="5325471" cy="2588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327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8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18" name="Picture 17" descr="A large long train on a train track with trees in the background&#10;&#10;Description automatically generated">
            <a:extLst>
              <a:ext uri="{FF2B5EF4-FFF2-40B4-BE49-F238E27FC236}">
                <a16:creationId xmlns:a16="http://schemas.microsoft.com/office/drawing/2014/main" xmlns="" id="{7C0EBAF2-E51E-45AD-A107-9F223DBDC5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839" y="1077605"/>
            <a:ext cx="6808402" cy="3309640"/>
          </a:xfrm>
          <a:prstGeom prst="rect">
            <a:avLst/>
          </a:prstGeom>
        </p:spPr>
      </p:pic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xmlns="" id="{A75049D4-AA49-4D6F-A46A-D35406D5FA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1131465"/>
              </p:ext>
            </p:extLst>
          </p:nvPr>
        </p:nvGraphicFramePr>
        <p:xfrm>
          <a:off x="6156176" y="1844824"/>
          <a:ext cx="2203421" cy="4268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0" name="Picture 19" descr="A close up of a rock&#10;&#10;Description automatically generated">
            <a:extLst>
              <a:ext uri="{FF2B5EF4-FFF2-40B4-BE49-F238E27FC236}">
                <a16:creationId xmlns:a16="http://schemas.microsoft.com/office/drawing/2014/main" xmlns="" id="{0C988F9E-2BD8-4793-9C55-96D07AF6479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150" y="2520564"/>
            <a:ext cx="4572000" cy="3394364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xmlns="" id="{57562AA6-74F8-4C13-9EFF-3B341D7623FF}"/>
              </a:ext>
            </a:extLst>
          </p:cNvPr>
          <p:cNvSpPr/>
          <p:nvPr/>
        </p:nvSpPr>
        <p:spPr>
          <a:xfrm>
            <a:off x="6372200" y="2172936"/>
            <a:ext cx="576064" cy="232575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299094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Graphic spid="19" grpId="0">
        <p:bldAsOne/>
      </p:bldGraphic>
      <p:bldP spid="13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9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12" name="Picture 11" descr="A picture containing transport, weapon&#10;&#10;Description automatically generated">
            <a:extLst>
              <a:ext uri="{FF2B5EF4-FFF2-40B4-BE49-F238E27FC236}">
                <a16:creationId xmlns:a16="http://schemas.microsoft.com/office/drawing/2014/main" xmlns="" id="{A988C12E-688E-4EA0-9787-37D932D2E3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894053" y="2286455"/>
            <a:ext cx="5445217" cy="2646980"/>
          </a:xfrm>
          <a:prstGeom prst="rect">
            <a:avLst/>
          </a:prstGeom>
        </p:spPr>
      </p:pic>
      <p:pic>
        <p:nvPicPr>
          <p:cNvPr id="15" name="Picture 14" descr="A picture containing building&#10;&#10;Description automatically generated">
            <a:extLst>
              <a:ext uri="{FF2B5EF4-FFF2-40B4-BE49-F238E27FC236}">
                <a16:creationId xmlns:a16="http://schemas.microsoft.com/office/drawing/2014/main" xmlns="" id="{1BD84B5D-17E6-41A7-AF99-C48CAC38099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279286" y="2301072"/>
            <a:ext cx="5502108" cy="2674636"/>
          </a:xfrm>
          <a:prstGeom prst="rect">
            <a:avLst/>
          </a:prstGeom>
        </p:spPr>
      </p:pic>
      <p:pic>
        <p:nvPicPr>
          <p:cNvPr id="7" name="Picture 6" descr="A picture containing sky, tree, outdoor, building&#10;&#10;Description automatically generated">
            <a:extLst>
              <a:ext uri="{FF2B5EF4-FFF2-40B4-BE49-F238E27FC236}">
                <a16:creationId xmlns:a16="http://schemas.microsoft.com/office/drawing/2014/main" xmlns="" id="{56BDBFBF-F375-4246-BA36-289B975EEB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959472" y="2286455"/>
            <a:ext cx="5445219" cy="2646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76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 dirty="0">
                <a:latin typeface="Arial Narrow" panose="020B0606020202030204" pitchFamily="34" charset="0"/>
              </a:rPr>
              <a:t>Danijela Kosty</a:t>
            </a: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4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9587" y="232396"/>
            <a:ext cx="8095902" cy="58554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3400" b="1" dirty="0">
                <a:solidFill>
                  <a:srgbClr val="0070C0"/>
                </a:solidFill>
              </a:rPr>
              <a:t>Razlozi dugotrajnosti pripreme projekta </a:t>
            </a: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 flipV="1">
            <a:off x="427038" y="765175"/>
            <a:ext cx="6953250" cy="0"/>
          </a:xfrm>
          <a:prstGeom prst="line">
            <a:avLst/>
          </a:prstGeom>
          <a:noFill/>
          <a:ln w="15875">
            <a:solidFill>
              <a:srgbClr val="4F81B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TekstniOkvir 5"/>
          <p:cNvSpPr txBox="1">
            <a:spLocks noChangeArrowheads="1"/>
          </p:cNvSpPr>
          <p:nvPr/>
        </p:nvSpPr>
        <p:spPr bwMode="auto">
          <a:xfrm>
            <a:off x="4427538" y="5013325"/>
            <a:ext cx="7302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hr-HR" altLang="sr-Latn-RS" sz="1800"/>
          </a:p>
        </p:txBody>
      </p:sp>
      <p:sp>
        <p:nvSpPr>
          <p:cNvPr id="3" name="Pravokutnik 2">
            <a:extLst>
              <a:ext uri="{FF2B5EF4-FFF2-40B4-BE49-F238E27FC236}">
                <a16:creationId xmlns:a16="http://schemas.microsoft.com/office/drawing/2014/main" xmlns="" id="{2147BBE4-ACA6-490C-9123-689785D1FBA1}"/>
              </a:ext>
            </a:extLst>
          </p:cNvPr>
          <p:cNvSpPr/>
          <p:nvPr/>
        </p:nvSpPr>
        <p:spPr>
          <a:xfrm>
            <a:off x="457200" y="1095401"/>
            <a:ext cx="6635080" cy="22626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hr-HR" altLang="sr-Latn-RS" sz="1600" dirty="0">
                <a:solidFill>
                  <a:srgbClr val="0070C0"/>
                </a:solidFill>
              </a:rPr>
              <a:t>dugotrajno rješavanje imovinskopravnih odnosa, </a:t>
            </a: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što na ovakvim linijskim objektima zahtijeva rješavanje velikog broja katastarskih čestica na više katastarskih općina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bog neriješenih imovinskopravnih odnosa odbijeni su zahtjevi za izdavanje građevinskih dozvola 2014. godine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hr-HR" altLang="sr-Latn-R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sređene zemljišne knjige i neusklađenost zakona </a:t>
            </a:r>
          </a:p>
        </p:txBody>
      </p:sp>
      <p:pic>
        <p:nvPicPr>
          <p:cNvPr id="18" name="Picture 8">
            <a:extLst>
              <a:ext uri="{FF2B5EF4-FFF2-40B4-BE49-F238E27FC236}">
                <a16:creationId xmlns:a16="http://schemas.microsoft.com/office/drawing/2014/main" xmlns="" id="{6E4006F3-4ACD-4F3E-A93D-621E124F1E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626" y="2387601"/>
            <a:ext cx="1693862" cy="1185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3">
            <a:extLst>
              <a:ext uri="{FF2B5EF4-FFF2-40B4-BE49-F238E27FC236}">
                <a16:creationId xmlns:a16="http://schemas.microsoft.com/office/drawing/2014/main" xmlns="" id="{74309CDD-86D7-4D8C-97AF-C6D3A3DEDC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7744" y="3446214"/>
            <a:ext cx="6553200" cy="2262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742950" indent="-285750"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hr-HR" altLang="sr-Latn-RS" b="0" dirty="0">
                <a:solidFill>
                  <a:srgbClr val="0070C0"/>
                </a:solidFill>
                <a:latin typeface="Arial" pitchFamily="34" charset="0"/>
              </a:rPr>
              <a:t>nadmetanje je započelo 2. lipnja 2017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.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objavom u Elektroničkom oglasniku javne nabave. U fazi nadmetanja: </a:t>
            </a:r>
            <a:r>
              <a:rPr lang="hr-HR" altLang="sr-Latn-RS" b="0" dirty="0">
                <a:solidFill>
                  <a:srgbClr val="0070C0"/>
                </a:solidFill>
                <a:latin typeface="Arial" pitchFamily="34" charset="0"/>
              </a:rPr>
              <a:t>dvije žalbe na dokumentaciju o nabavi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te po Odluci o odabiru </a:t>
            </a:r>
            <a:r>
              <a:rPr lang="hr-HR" altLang="sr-Latn-RS" b="0" dirty="0">
                <a:solidFill>
                  <a:srgbClr val="0070C0"/>
                </a:solidFill>
                <a:latin typeface="Arial" pitchFamily="34" charset="0"/>
              </a:rPr>
              <a:t>dvije dodatne žalbe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.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iako DKOM odbio sve žalbe, </a:t>
            </a:r>
            <a:r>
              <a:rPr lang="hr-HR" altLang="sr-Latn-RS" dirty="0">
                <a:solidFill>
                  <a:srgbClr val="0070C0"/>
                </a:solidFill>
                <a:latin typeface="Arial" pitchFamily="34" charset="0"/>
              </a:rPr>
              <a:t>od početka postupka javne nabave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do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zaključenja ugovora o izvođenju radova prošla je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 </a:t>
            </a:r>
            <a:r>
              <a:rPr lang="hr-HR" altLang="sr-Latn-RS" dirty="0">
                <a:solidFill>
                  <a:srgbClr val="0070C0"/>
                </a:solidFill>
                <a:latin typeface="Arial" pitchFamily="34" charset="0"/>
              </a:rPr>
              <a:t>puna godina dana</a:t>
            </a:r>
          </a:p>
        </p:txBody>
      </p:sp>
      <p:pic>
        <p:nvPicPr>
          <p:cNvPr id="20" name="Picture 6">
            <a:extLst>
              <a:ext uri="{FF2B5EF4-FFF2-40B4-BE49-F238E27FC236}">
                <a16:creationId xmlns:a16="http://schemas.microsoft.com/office/drawing/2014/main" xmlns="" id="{AF083EEC-24C4-4E90-BD27-756D73CF4E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898" y="4221077"/>
            <a:ext cx="1223962" cy="1179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13">
            <a:extLst>
              <a:ext uri="{FF2B5EF4-FFF2-40B4-BE49-F238E27FC236}">
                <a16:creationId xmlns:a16="http://schemas.microsoft.com/office/drawing/2014/main" xmlns="" id="{B3C3C01A-9E73-4890-9CDF-FE5D076C36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245" y="96754"/>
            <a:ext cx="23034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9664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40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10" name="Picture 9" descr="A group of people standing outside of a building&#10;&#10;Description automatically generated">
            <a:extLst>
              <a:ext uri="{FF2B5EF4-FFF2-40B4-BE49-F238E27FC236}">
                <a16:creationId xmlns:a16="http://schemas.microsoft.com/office/drawing/2014/main" xmlns="" id="{BA2DD0EF-C72B-4984-BFAC-9F726DC46E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" y="908720"/>
            <a:ext cx="5460782" cy="2654547"/>
          </a:xfrm>
          <a:prstGeom prst="rect">
            <a:avLst/>
          </a:prstGeom>
        </p:spPr>
      </p:pic>
      <p:pic>
        <p:nvPicPr>
          <p:cNvPr id="20" name="Picture 19" descr="A picture containing building, ground, wall, outdoor&#10;&#10;Description automatically generated">
            <a:extLst>
              <a:ext uri="{FF2B5EF4-FFF2-40B4-BE49-F238E27FC236}">
                <a16:creationId xmlns:a16="http://schemas.microsoft.com/office/drawing/2014/main" xmlns="" id="{087ABFAC-1622-4857-AEA7-325900379A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1999" y="1259676"/>
            <a:ext cx="5733341" cy="2787041"/>
          </a:xfrm>
          <a:prstGeom prst="rect">
            <a:avLst/>
          </a:prstGeom>
        </p:spPr>
      </p:pic>
      <p:pic>
        <p:nvPicPr>
          <p:cNvPr id="21" name="Picture 20" descr="A house with a large rock&#10;&#10;Description automatically generated">
            <a:extLst>
              <a:ext uri="{FF2B5EF4-FFF2-40B4-BE49-F238E27FC236}">
                <a16:creationId xmlns:a16="http://schemas.microsoft.com/office/drawing/2014/main" xmlns="" id="{ACCC7A97-3813-49CD-9B8D-7E680E00B35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" y="3571571"/>
            <a:ext cx="5076056" cy="2467527"/>
          </a:xfrm>
          <a:prstGeom prst="rect">
            <a:avLst/>
          </a:prstGeom>
        </p:spPr>
      </p:pic>
      <p:pic>
        <p:nvPicPr>
          <p:cNvPr id="22" name="Picture 21" descr="A picture containing grass, sky, outdoor, tree&#10;&#10;Description automatically generated">
            <a:extLst>
              <a:ext uri="{FF2B5EF4-FFF2-40B4-BE49-F238E27FC236}">
                <a16:creationId xmlns:a16="http://schemas.microsoft.com/office/drawing/2014/main" xmlns="" id="{8F71327D-1581-470D-B82D-ACAF524FCF1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190" y="3499815"/>
            <a:ext cx="5831150" cy="283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685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41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7" name="Picture 6" descr="A tractor in a pile&#10;&#10;Description automatically generated">
            <a:extLst>
              <a:ext uri="{FF2B5EF4-FFF2-40B4-BE49-F238E27FC236}">
                <a16:creationId xmlns:a16="http://schemas.microsoft.com/office/drawing/2014/main" xmlns="" id="{BD8161C7-770A-4F54-87C8-18F8EB862F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428" y="908720"/>
            <a:ext cx="6349567" cy="3086595"/>
          </a:xfrm>
          <a:prstGeom prst="rect">
            <a:avLst/>
          </a:prstGeom>
        </p:spPr>
      </p:pic>
      <p:pic>
        <p:nvPicPr>
          <p:cNvPr id="12" name="Picture 11" descr="A picture containing outdoor, nature, rock, building&#10;&#10;Description automatically generated">
            <a:extLst>
              <a:ext uri="{FF2B5EF4-FFF2-40B4-BE49-F238E27FC236}">
                <a16:creationId xmlns:a16="http://schemas.microsoft.com/office/drawing/2014/main" xmlns="" id="{DDF6C89A-134D-49D0-BD1A-4457C450C1D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267" y="2102534"/>
            <a:ext cx="6053305" cy="2942579"/>
          </a:xfrm>
          <a:prstGeom prst="rect">
            <a:avLst/>
          </a:prstGeom>
        </p:spPr>
      </p:pic>
      <p:pic>
        <p:nvPicPr>
          <p:cNvPr id="16" name="Picture 15" descr="A house covered in snow&#10;&#10;Description automatically generated">
            <a:extLst>
              <a:ext uri="{FF2B5EF4-FFF2-40B4-BE49-F238E27FC236}">
                <a16:creationId xmlns:a16="http://schemas.microsoft.com/office/drawing/2014/main" xmlns="" id="{0269BDEA-E208-409B-A6A6-BC87096698D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428" y="3457491"/>
            <a:ext cx="5976939" cy="290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89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42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13" name="Picture 12" descr="A crane truck on a dirt road&#10;&#10;Description automatically generated">
            <a:extLst>
              <a:ext uri="{FF2B5EF4-FFF2-40B4-BE49-F238E27FC236}">
                <a16:creationId xmlns:a16="http://schemas.microsoft.com/office/drawing/2014/main" xmlns="" id="{7A25C648-0825-47E6-A1E7-C35F962B16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759" y="1230886"/>
            <a:ext cx="7386482" cy="3590651"/>
          </a:xfrm>
          <a:prstGeom prst="rect">
            <a:avLst/>
          </a:prstGeom>
        </p:spPr>
      </p:pic>
      <p:pic>
        <p:nvPicPr>
          <p:cNvPr id="19" name="Picture 18" descr="A truck driving down a dirt road&#10;&#10;Description automatically generated">
            <a:extLst>
              <a:ext uri="{FF2B5EF4-FFF2-40B4-BE49-F238E27FC236}">
                <a16:creationId xmlns:a16="http://schemas.microsoft.com/office/drawing/2014/main" xmlns="" id="{3828FB88-8D82-4837-B8B9-D690E3D341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637" y="2877110"/>
            <a:ext cx="6743438" cy="327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597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43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21" name="Picture 20" descr="A path with trees on the side of a dirt road&#10;&#10;Description automatically generated">
            <a:extLst>
              <a:ext uri="{FF2B5EF4-FFF2-40B4-BE49-F238E27FC236}">
                <a16:creationId xmlns:a16="http://schemas.microsoft.com/office/drawing/2014/main" xmlns="" id="{01185565-A20D-468E-B960-B03E2BE3D52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174417"/>
            <a:ext cx="6546995" cy="3182567"/>
          </a:xfrm>
          <a:prstGeom prst="rect">
            <a:avLst/>
          </a:prstGeom>
        </p:spPr>
      </p:pic>
      <p:pic>
        <p:nvPicPr>
          <p:cNvPr id="12" name="Picture 11" descr="A path with trees on the side of a dirt field&#10;&#10;Description automatically generated">
            <a:extLst>
              <a:ext uri="{FF2B5EF4-FFF2-40B4-BE49-F238E27FC236}">
                <a16:creationId xmlns:a16="http://schemas.microsoft.com/office/drawing/2014/main" xmlns="" id="{C32F5712-EDDB-48AF-84B7-EB95BAF528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7" y="3315742"/>
            <a:ext cx="5760641" cy="2800311"/>
          </a:xfrm>
          <a:prstGeom prst="rect">
            <a:avLst/>
          </a:prstGeom>
        </p:spPr>
      </p:pic>
      <p:pic>
        <p:nvPicPr>
          <p:cNvPr id="13" name="Picture 12" descr="A picture containing sewing machine, indoor, appliance, sitting&#10;&#10;Description automatically generated">
            <a:extLst>
              <a:ext uri="{FF2B5EF4-FFF2-40B4-BE49-F238E27FC236}">
                <a16:creationId xmlns:a16="http://schemas.microsoft.com/office/drawing/2014/main" xmlns="" id="{7004EBB8-976D-43A0-AB9A-FA02637B2BD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174605" y="2444021"/>
            <a:ext cx="4941160" cy="2401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457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44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14" name="Picture 13" descr="A close up of an old building&#10;&#10;Description automatically generated">
            <a:extLst>
              <a:ext uri="{FF2B5EF4-FFF2-40B4-BE49-F238E27FC236}">
                <a16:creationId xmlns:a16="http://schemas.microsoft.com/office/drawing/2014/main" xmlns="" id="{0D294D81-A692-482D-9EAD-40836FCDF8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308" y="1111243"/>
            <a:ext cx="6300842" cy="3541893"/>
          </a:xfrm>
          <a:prstGeom prst="rect">
            <a:avLst/>
          </a:prstGeom>
        </p:spPr>
      </p:pic>
      <p:pic>
        <p:nvPicPr>
          <p:cNvPr id="18" name="Picture 17" descr="A picture containing tree, building, grass, outdoor&#10;&#10;Description automatically generated">
            <a:extLst>
              <a:ext uri="{FF2B5EF4-FFF2-40B4-BE49-F238E27FC236}">
                <a16:creationId xmlns:a16="http://schemas.microsoft.com/office/drawing/2014/main" xmlns="" id="{53BC2BCA-C77D-4A24-AB46-7B38DF55038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75856" y="2947173"/>
            <a:ext cx="5534213" cy="3290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317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45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l"/>
            <a:r>
              <a:rPr lang="hr-HR" sz="2400" b="1" dirty="0"/>
              <a:t>Problematika</a:t>
            </a:r>
            <a:r>
              <a:rPr lang="pl-PL" sz="2400" b="1" dirty="0"/>
              <a:t> vezana za geotehničke radove</a:t>
            </a:r>
            <a:endParaRPr lang="en-US" sz="24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12" name="Picture 11" descr="A dirt path next to a building&#10;&#10;Description automatically generated">
            <a:extLst>
              <a:ext uri="{FF2B5EF4-FFF2-40B4-BE49-F238E27FC236}">
                <a16:creationId xmlns:a16="http://schemas.microsoft.com/office/drawing/2014/main" xmlns="" id="{053A88D3-8023-4840-A60A-A184CEE27F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700808"/>
            <a:ext cx="7702788" cy="3744411"/>
          </a:xfrm>
          <a:prstGeom prst="rect">
            <a:avLst/>
          </a:prstGeom>
        </p:spPr>
      </p:pic>
      <p:pic>
        <p:nvPicPr>
          <p:cNvPr id="13" name="Picture 12" descr="A large farm field&#10;&#10;Description automatically generated">
            <a:extLst>
              <a:ext uri="{FF2B5EF4-FFF2-40B4-BE49-F238E27FC236}">
                <a16:creationId xmlns:a16="http://schemas.microsoft.com/office/drawing/2014/main" xmlns="" id="{AB3AB4B2-794E-4D76-BB6F-AD359460CDD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27" y="1317779"/>
            <a:ext cx="8782469" cy="4936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530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Pero Šiš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46</a:t>
            </a:fld>
            <a:endParaRPr lang="hr-HR" altLang="sr-Latn-R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05BDEF65-6E9D-460F-8F57-1B2F7678F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2837428"/>
            <a:ext cx="8229600" cy="634082"/>
          </a:xfrm>
        </p:spPr>
        <p:txBody>
          <a:bodyPr/>
          <a:lstStyle/>
          <a:p>
            <a:r>
              <a:rPr lang="hr-HR" sz="3600" b="1" dirty="0"/>
              <a:t>HVALA NA PAŽNJI</a:t>
            </a:r>
            <a:endParaRPr lang="en-US" sz="3600" b="1" dirty="0"/>
          </a:p>
        </p:txBody>
      </p:sp>
      <p:pic>
        <p:nvPicPr>
          <p:cNvPr id="11" name="Content Placeholder 7" descr="A picture containing clipart&#10;&#10;Description automatically generated">
            <a:extLst>
              <a:ext uri="{FF2B5EF4-FFF2-40B4-BE49-F238E27FC236}">
                <a16:creationId xmlns:a16="http://schemas.microsoft.com/office/drawing/2014/main" xmlns="" id="{F4C71B35-009F-4286-81F1-C9E7F338073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236" y="274638"/>
            <a:ext cx="1553252" cy="8030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F78BE596-BC69-4258-A8D8-24D2A64311DA}"/>
              </a:ext>
            </a:extLst>
          </p:cNvPr>
          <p:cNvSpPr txBox="1">
            <a:spLocks/>
          </p:cNvSpPr>
          <p:nvPr/>
        </p:nvSpPr>
        <p:spPr>
          <a:xfrm>
            <a:off x="683568" y="966160"/>
            <a:ext cx="8424936" cy="120677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endParaRPr lang="hr-HR" sz="2400" b="1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C16AC212-646E-4D49-A347-48D9027BA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00" y="35042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xmlns="" id="{6531259E-3789-4AC7-8B15-45837152E8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356" y="234186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r-HR"/>
          </a:p>
        </p:txBody>
      </p:sp>
      <p:pic>
        <p:nvPicPr>
          <p:cNvPr id="12" name="Grafik 10">
            <a:extLst>
              <a:ext uri="{FF2B5EF4-FFF2-40B4-BE49-F238E27FC236}">
                <a16:creationId xmlns:a16="http://schemas.microsoft.com/office/drawing/2014/main" xmlns="" id="{15E0807F-38BA-4840-9366-22FF6072AB6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t="-1" b="-1"/>
          <a:stretch/>
        </p:blipFill>
        <p:spPr>
          <a:xfrm>
            <a:off x="6103179" y="280398"/>
            <a:ext cx="1128173" cy="797242"/>
          </a:xfrm>
          <a:prstGeom prst="rect">
            <a:avLst/>
          </a:prstGeom>
        </p:spPr>
      </p:pic>
      <p:pic>
        <p:nvPicPr>
          <p:cNvPr id="13" name="Picture 2" descr="Slikovni rezultat za HÅ½I logo">
            <a:extLst>
              <a:ext uri="{FF2B5EF4-FFF2-40B4-BE49-F238E27FC236}">
                <a16:creationId xmlns:a16="http://schemas.microsoft.com/office/drawing/2014/main" xmlns="" id="{F11CA424-46A2-4DB1-ABFB-330F46D801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93296" y="170677"/>
            <a:ext cx="1080120" cy="10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5445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 dirty="0">
                <a:latin typeface="Arial Narrow" panose="020B0606020202030204" pitchFamily="34" charset="0"/>
              </a:rPr>
              <a:t>Danijela Kosty</a:t>
            </a: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5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164198"/>
            <a:ext cx="7173094" cy="9409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4000" b="1" dirty="0">
                <a:solidFill>
                  <a:srgbClr val="0070C0"/>
                </a:solidFill>
              </a:rPr>
              <a:t>Financijski podaci</a:t>
            </a: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446856" y="1129076"/>
            <a:ext cx="7976369" cy="5463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588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Ugovor o dodjeli bespovratnih sredstava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hr-HR" altLang="sr-Latn-RS" dirty="0">
                <a:solidFill>
                  <a:srgbClr val="0070C0"/>
                </a:solidFill>
                <a:latin typeface="Arial" panose="020B0604020202020204" pitchFamily="34" charset="0"/>
              </a:rPr>
              <a:t>HŽ Infrastruktura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potpisala je s </a:t>
            </a:r>
            <a:r>
              <a:rPr lang="hr-HR" altLang="sr-Latn-RS" dirty="0">
                <a:solidFill>
                  <a:srgbClr val="0070C0"/>
                </a:solidFill>
                <a:latin typeface="Arial" panose="020B0604020202020204" pitchFamily="34" charset="0"/>
              </a:rPr>
              <a:t>Ministarstvom mora, prometa i infrastrukture (PT1)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i </a:t>
            </a:r>
            <a:r>
              <a:rPr lang="hr-HR" altLang="sr-Latn-RS" dirty="0">
                <a:solidFill>
                  <a:srgbClr val="0070C0"/>
                </a:solidFill>
                <a:latin typeface="Arial" panose="020B0604020202020204" pitchFamily="34" charset="0"/>
              </a:rPr>
              <a:t>Središnjom agencijom za financiranje i ugovaranje (PT2)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u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hr-HR" altLang="sr-Latn-RS" dirty="0">
                <a:solidFill>
                  <a:srgbClr val="0070C0"/>
                </a:solidFill>
                <a:latin typeface="Arial" panose="020B0604020202020204" pitchFamily="34" charset="0"/>
              </a:rPr>
              <a:t>studenome 2017. godine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.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Ukupna vrijednost prihvatljivih troškova projekta iznosi </a:t>
            </a:r>
            <a:r>
              <a:rPr lang="hr-HR" altLang="sr-Latn-RS" dirty="0">
                <a:solidFill>
                  <a:srgbClr val="0070C0"/>
                </a:solidFill>
                <a:latin typeface="Arial" panose="020B0604020202020204" pitchFamily="34" charset="0"/>
              </a:rPr>
              <a:t>614,4 </a:t>
            </a:r>
            <a:r>
              <a:rPr lang="hr-HR" altLang="sr-Latn-RS" dirty="0" err="1">
                <a:solidFill>
                  <a:srgbClr val="0070C0"/>
                </a:solidFill>
                <a:latin typeface="Arial" panose="020B0604020202020204" pitchFamily="34" charset="0"/>
              </a:rPr>
              <a:t>mil</a:t>
            </a:r>
            <a:r>
              <a:rPr lang="hr-HR" altLang="sr-Latn-RS" dirty="0">
                <a:solidFill>
                  <a:srgbClr val="0070C0"/>
                </a:solidFill>
                <a:latin typeface="Arial" panose="020B0604020202020204" pitchFamily="34" charset="0"/>
              </a:rPr>
              <a:t>. kuna</a:t>
            </a:r>
            <a:r>
              <a:rPr lang="hr-HR" altLang="sr-Latn-R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Projekt se s </a:t>
            </a:r>
            <a:r>
              <a:rPr lang="hr-HR" altLang="sr-Latn-RS" dirty="0">
                <a:solidFill>
                  <a:srgbClr val="0070C0"/>
                </a:solidFill>
                <a:latin typeface="Arial" panose="020B0604020202020204" pitchFamily="34" charset="0"/>
              </a:rPr>
              <a:t>85 % sredstava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ufinancira putem </a:t>
            </a:r>
            <a:r>
              <a:rPr lang="hr-HR" altLang="sr-Latn-RS" dirty="0">
                <a:solidFill>
                  <a:srgbClr val="0070C0"/>
                </a:solidFill>
                <a:latin typeface="Arial" panose="020B0604020202020204" pitchFamily="34" charset="0"/>
              </a:rPr>
              <a:t>Operativnog programa Konkurentnost i kohezija 2014. – 2020.,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 preostalih 15 % bit će sufinancirano nacionalnim sredstvima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Ugovor za radove HŽ Infrastruktura potpisala je 12. lipnja 2018. s tvrtkom </a:t>
            </a:r>
            <a:r>
              <a:rPr lang="hr-HR" altLang="sr-Latn-RS" dirty="0">
                <a:solidFill>
                  <a:srgbClr val="0070C0"/>
                </a:solidFill>
                <a:latin typeface="Arial" charset="0"/>
              </a:rPr>
              <a:t>SWIETELSKY d.o.o.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(530.655.163,07 kn)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 Ugovor o nadzoru nad izvođenjem radova potpisan je 28. lipnja 2018. sa tvrtkom</a:t>
            </a:r>
            <a:r>
              <a:rPr lang="vi-VN" altLang="en-US" b="0" dirty="0">
                <a:solidFill>
                  <a:srgbClr val="404040"/>
                </a:solidFill>
                <a:latin typeface="Arial" charset="0"/>
              </a:rPr>
              <a:t> </a:t>
            </a:r>
            <a:r>
              <a:rPr lang="vi-VN" altLang="en-US" dirty="0">
                <a:solidFill>
                  <a:srgbClr val="0070C0"/>
                </a:solidFill>
                <a:latin typeface="Arial" charset="0"/>
              </a:rPr>
              <a:t>DB Engineering &amp; Consulting GmbH</a:t>
            </a:r>
            <a:r>
              <a:rPr lang="hr-HR" altLang="en-US" dirty="0">
                <a:solidFill>
                  <a:srgbClr val="0070C0"/>
                </a:solidFill>
                <a:latin typeface="Arial" charset="0"/>
              </a:rPr>
              <a:t> </a:t>
            </a:r>
            <a:r>
              <a:rPr lang="hr-HR" altLang="sr-Latn-RS" dirty="0">
                <a:solidFill>
                  <a:srgbClr val="0070C0"/>
                </a:solidFill>
                <a:latin typeface="Arial" charset="0"/>
              </a:rPr>
              <a:t> </a:t>
            </a:r>
            <a:r>
              <a:rPr lang="hr-HR" altLang="sr-Latn-RS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(13.475.811,97 kn)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Radovi su započeli </a:t>
            </a:r>
            <a:r>
              <a:rPr lang="hr-HR" altLang="sr-Latn-RS" dirty="0">
                <a:solidFill>
                  <a:srgbClr val="0070C0"/>
                </a:solidFill>
                <a:latin typeface="Arial" charset="0"/>
              </a:rPr>
              <a:t>u srpnju 2018</a:t>
            </a: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. 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Rok za izvođenje radova je </a:t>
            </a:r>
            <a:r>
              <a:rPr lang="hr-HR" altLang="sr-Latn-RS" dirty="0">
                <a:solidFill>
                  <a:srgbClr val="0070C0"/>
                </a:solidFill>
                <a:latin typeface="Arial" charset="0"/>
              </a:rPr>
              <a:t>36 mjeseci 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endParaRPr lang="hr-HR" altLang="en-US" sz="1400" dirty="0">
              <a:solidFill>
                <a:srgbClr val="404040"/>
              </a:solidFill>
              <a:latin typeface="Arial" charset="0"/>
            </a:endParaRPr>
          </a:p>
          <a:p>
            <a:pPr algn="just"/>
            <a:r>
              <a:rPr lang="hr-HR" altLang="en-US" dirty="0">
                <a:solidFill>
                  <a:srgbClr val="003399"/>
                </a:solidFill>
              </a:rPr>
              <a:t>	</a:t>
            </a:r>
          </a:p>
        </p:txBody>
      </p:sp>
      <p:sp>
        <p:nvSpPr>
          <p:cNvPr id="10" name="Line 9">
            <a:extLst>
              <a:ext uri="{FF2B5EF4-FFF2-40B4-BE49-F238E27FC236}">
                <a16:creationId xmlns:a16="http://schemas.microsoft.com/office/drawing/2014/main" xmlns="" id="{0673ED74-CECC-4D13-A4F5-54403B99397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87388" y="836712"/>
            <a:ext cx="6953250" cy="0"/>
          </a:xfrm>
          <a:prstGeom prst="line">
            <a:avLst/>
          </a:prstGeom>
          <a:noFill/>
          <a:ln w="15875">
            <a:solidFill>
              <a:srgbClr val="4F81B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xmlns="" id="{3967233A-6052-4AD8-B55B-B4E33610E6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245" y="96754"/>
            <a:ext cx="23034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01330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267761" y="790742"/>
            <a:ext cx="7480951" cy="5217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Građevinski parametri pruge: projektirana građevinska </a:t>
            </a:r>
            <a:r>
              <a:rPr lang="pl-PL" altLang="en-US" sz="1600" dirty="0">
                <a:solidFill>
                  <a:srgbClr val="404040"/>
                </a:solidFill>
                <a:latin typeface="Arial" charset="0"/>
              </a:rPr>
              <a:t>brzina od maksimalno </a:t>
            </a:r>
            <a:r>
              <a:rPr lang="pl-PL" altLang="en-US" sz="1600" b="1" dirty="0">
                <a:solidFill>
                  <a:srgbClr val="0070C0"/>
                </a:solidFill>
                <a:latin typeface="Arial" charset="0"/>
              </a:rPr>
              <a:t>120 km/h.</a:t>
            </a:r>
            <a:endParaRPr lang="pl-PL" altLang="en-US" sz="1600" dirty="0">
              <a:solidFill>
                <a:srgbClr val="0070C0"/>
              </a:solidFill>
              <a:latin typeface="Arial" charset="0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Vozna vremena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putničkih vlakova skratit će se za oko 30 posto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(sa sadašnjih 39 – 44 min na 28 min),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a brzih vlakova za oko 50 posto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(sa sadašnjih 31 min na 14 min), uključivanje u prigradski promet Grada Zagreba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Pruga će se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elektrificirati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, što pridonosi zaštiti okoliša i smanjenju buke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nb-NO" altLang="en-US" sz="1600" dirty="0">
                <a:solidFill>
                  <a:srgbClr val="404040"/>
                </a:solidFill>
                <a:latin typeface="Arial" charset="0"/>
              </a:rPr>
              <a:t>Rekonstruirat će se </a:t>
            </a:r>
            <a:r>
              <a:rPr lang="nb-NO" altLang="en-US" sz="1600" b="1" dirty="0">
                <a:solidFill>
                  <a:srgbClr val="0070C0"/>
                </a:solidFill>
                <a:latin typeface="Arial" charset="0"/>
              </a:rPr>
              <a:t>kolodvori Novi Dvori, Luka, Veliko Trgovišće i Zabok</a:t>
            </a:r>
            <a:r>
              <a:rPr lang="nb-NO" altLang="en-US" sz="1600" dirty="0">
                <a:solidFill>
                  <a:srgbClr val="404040"/>
                </a:solidFill>
                <a:latin typeface="Arial" charset="0"/>
              </a:rPr>
              <a:t>,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 i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stajališta </a:t>
            </a:r>
            <a:r>
              <a:rPr lang="hr-HR" altLang="en-US" sz="1600" b="1" dirty="0" err="1">
                <a:solidFill>
                  <a:srgbClr val="0070C0"/>
                </a:solidFill>
                <a:latin typeface="Arial" charset="0"/>
              </a:rPr>
              <a:t>Pojatno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, </a:t>
            </a:r>
            <a:r>
              <a:rPr lang="hr-HR" altLang="en-US" sz="1600" b="1" dirty="0" err="1">
                <a:solidFill>
                  <a:srgbClr val="0070C0"/>
                </a:solidFill>
                <a:latin typeface="Arial" charset="0"/>
              </a:rPr>
              <a:t>Kupljenovo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 i </a:t>
            </a:r>
            <a:r>
              <a:rPr lang="hr-HR" altLang="en-US" sz="1600" b="1" dirty="0" err="1">
                <a:solidFill>
                  <a:srgbClr val="0070C0"/>
                </a:solidFill>
                <a:latin typeface="Arial" charset="0"/>
              </a:rPr>
              <a:t>Žeinci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 -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izgradnja novih perona, pothodnika, nadstrešnica i parkirališta te rekonstrukciju kolodvorskih zgrada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Kolodvor Zabok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razdvojit će se na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putnički i teretni dio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, a izgradit će se nova </a:t>
            </a:r>
            <a:r>
              <a:rPr lang="pl-PL" altLang="en-US" sz="1600" dirty="0">
                <a:solidFill>
                  <a:srgbClr val="404040"/>
                </a:solidFill>
                <a:latin typeface="Arial" charset="0"/>
              </a:rPr>
              <a:t>zgrada za smještaj signalno-sigurnosnih i telekomunikacijskih uređaja te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ureda za izvršne radnike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U kolodvorima i stajalištima bit će osiguran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sustav videonadzora te vizualnog i audio obavještavanja putnika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.</a:t>
            </a:r>
          </a:p>
        </p:txBody>
      </p:sp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 dirty="0">
                <a:latin typeface="Arial Narrow" panose="020B0606020202030204" pitchFamily="34" charset="0"/>
              </a:rPr>
              <a:t>Danijela Kosty</a:t>
            </a: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6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0"/>
            <a:ext cx="7139136" cy="76517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4000" b="1" dirty="0">
                <a:solidFill>
                  <a:srgbClr val="0070C0"/>
                </a:solidFill>
              </a:rPr>
              <a:t>Ciljevi i opseg projekta</a:t>
            </a: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 flipV="1">
            <a:off x="427038" y="765175"/>
            <a:ext cx="6953250" cy="0"/>
          </a:xfrm>
          <a:prstGeom prst="line">
            <a:avLst/>
          </a:prstGeom>
          <a:noFill/>
          <a:ln w="15875">
            <a:solidFill>
              <a:srgbClr val="4F81B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TekstniOkvir 5"/>
          <p:cNvSpPr txBox="1">
            <a:spLocks noChangeArrowheads="1"/>
          </p:cNvSpPr>
          <p:nvPr/>
        </p:nvSpPr>
        <p:spPr bwMode="auto">
          <a:xfrm>
            <a:off x="4427538" y="5013325"/>
            <a:ext cx="7302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hr-HR" altLang="sr-Latn-RS" sz="1800"/>
          </a:p>
        </p:txBody>
      </p:sp>
      <p:pic>
        <p:nvPicPr>
          <p:cNvPr id="1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2976641"/>
            <a:ext cx="10858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340768"/>
            <a:ext cx="10858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389" y="4722019"/>
            <a:ext cx="1085850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3">
            <a:extLst>
              <a:ext uri="{FF2B5EF4-FFF2-40B4-BE49-F238E27FC236}">
                <a16:creationId xmlns:a16="http://schemas.microsoft.com/office/drawing/2014/main" xmlns="" id="{8D30C753-0296-41DD-BCF7-BC009CCF8B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245" y="96754"/>
            <a:ext cx="23034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"/>
          <p:cNvSpPr txBox="1">
            <a:spLocks noChangeArrowheads="1"/>
          </p:cNvSpPr>
          <p:nvPr/>
        </p:nvSpPr>
        <p:spPr bwMode="auto">
          <a:xfrm>
            <a:off x="179512" y="824558"/>
            <a:ext cx="7488832" cy="521732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novi signalno-sigurnosni i telekomunikacijski uređaji te uređaji daljinskog upravljanja prometom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kako bi se osigurali preduvjeti</a:t>
            </a:r>
          </a:p>
          <a:p>
            <a:pPr marL="0" indent="0" algn="just">
              <a:lnSpc>
                <a:spcPct val="150000"/>
              </a:lnSpc>
              <a:spcBef>
                <a:spcPct val="0"/>
              </a:spcBef>
              <a:buNone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     za brže i sigurnije prometovanje vlakova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Suvremenim automatskim osiguranjem i sintetičkim popođenjem bit će modernizirano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15 željezničko-cestovnih prijelaza, četiri</a:t>
            </a:r>
            <a:r>
              <a:rPr lang="hr-HR" altLang="en-US" sz="1600" b="1" dirty="0">
                <a:solidFill>
                  <a:srgbClr val="404040"/>
                </a:solidFill>
                <a:latin typeface="Arial" charset="0"/>
              </a:rPr>
              <a:t>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će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prijelaza</a:t>
            </a:r>
            <a:r>
              <a:rPr lang="hr-HR" altLang="en-US" sz="1600" b="1" dirty="0">
                <a:solidFill>
                  <a:srgbClr val="404040"/>
                </a:solidFill>
                <a:latin typeface="Arial" charset="0"/>
              </a:rPr>
              <a:t>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spojnim cestama biti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preusmjerena na susjedne prijelaze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, </a:t>
            </a:r>
          </a:p>
          <a:p>
            <a:pPr marL="0" indent="0" algn="just">
              <a:lnSpc>
                <a:spcPct val="150000"/>
              </a:lnSpc>
              <a:spcBef>
                <a:spcPct val="0"/>
              </a:spcBef>
              <a:buNone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    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jedan</a:t>
            </a:r>
            <a:r>
              <a:rPr lang="hr-HR" altLang="en-US" sz="1600" b="1" dirty="0">
                <a:solidFill>
                  <a:srgbClr val="404040"/>
                </a:solidFill>
                <a:latin typeface="Arial" charset="0"/>
              </a:rPr>
              <a:t>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će biti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ukinut</a:t>
            </a:r>
            <a:r>
              <a:rPr lang="hr-HR" altLang="en-US" sz="1600" b="1" dirty="0">
                <a:solidFill>
                  <a:srgbClr val="404040"/>
                </a:solidFill>
                <a:latin typeface="Arial" charset="0"/>
              </a:rPr>
              <a:t>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kako bi se uz povećanje dopuštene </a:t>
            </a:r>
          </a:p>
          <a:p>
            <a:pPr marL="0" indent="0" algn="just">
              <a:lnSpc>
                <a:spcPct val="150000"/>
              </a:lnSpc>
              <a:spcBef>
                <a:spcPct val="0"/>
              </a:spcBef>
              <a:buNone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     brzine prometovanja vlakova podigla propusnost i razina</a:t>
            </a:r>
          </a:p>
          <a:p>
            <a:pPr marL="0" indent="0" algn="just">
              <a:lnSpc>
                <a:spcPct val="150000"/>
              </a:lnSpc>
              <a:spcBef>
                <a:spcPct val="0"/>
              </a:spcBef>
              <a:buNone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     sigurnosti na križanjima pruge i cesta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Uredit će se odnosno rekonstruirati te izgraditi potpuno nove pružne građevine kao što su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četiri nova armiranobetonska mosta 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Vučerna, Lužki potok, Črnec i Horvacka te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cestovni most</a:t>
            </a:r>
            <a:r>
              <a:rPr lang="hr-HR" altLang="en-US" sz="1600" b="1" dirty="0">
                <a:solidFill>
                  <a:srgbClr val="404040"/>
                </a:solidFill>
                <a:latin typeface="Arial" charset="0"/>
              </a:rPr>
              <a:t> </a:t>
            </a:r>
            <a:r>
              <a:rPr lang="hr-HR" altLang="en-US" sz="1600" dirty="0" err="1">
                <a:solidFill>
                  <a:srgbClr val="404040"/>
                </a:solidFill>
                <a:latin typeface="Arial" charset="0"/>
              </a:rPr>
              <a:t>Horvacka</a:t>
            </a: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.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Ø"/>
            </a:pPr>
            <a:r>
              <a:rPr lang="hr-HR" altLang="en-US" sz="1600" dirty="0">
                <a:solidFill>
                  <a:srgbClr val="404040"/>
                </a:solidFill>
                <a:latin typeface="Arial" charset="0"/>
              </a:rPr>
              <a:t>Radi odvodnje </a:t>
            </a:r>
            <a:r>
              <a:rPr lang="hr-HR" altLang="en-US" sz="1600" b="1" dirty="0">
                <a:solidFill>
                  <a:srgbClr val="0070C0"/>
                </a:solidFill>
                <a:latin typeface="Arial" charset="0"/>
              </a:rPr>
              <a:t>uredit će se 35 propusta </a:t>
            </a:r>
            <a:r>
              <a:rPr lang="pl-PL" altLang="en-US" sz="1600" b="1" dirty="0">
                <a:solidFill>
                  <a:srgbClr val="0070C0"/>
                </a:solidFill>
                <a:latin typeface="Arial" charset="0"/>
              </a:rPr>
              <a:t>i kanali </a:t>
            </a:r>
            <a:r>
              <a:rPr lang="pl-PL" altLang="en-US" sz="1600" dirty="0">
                <a:solidFill>
                  <a:srgbClr val="404040"/>
                </a:solidFill>
                <a:latin typeface="Arial" charset="0"/>
              </a:rPr>
              <a:t>te </a:t>
            </a:r>
          </a:p>
          <a:p>
            <a:pPr marL="0" indent="0" algn="just">
              <a:lnSpc>
                <a:spcPct val="150000"/>
              </a:lnSpc>
              <a:spcBef>
                <a:spcPct val="0"/>
              </a:spcBef>
              <a:buNone/>
            </a:pPr>
            <a:r>
              <a:rPr lang="pl-PL" altLang="en-US" sz="1600" dirty="0">
                <a:solidFill>
                  <a:srgbClr val="404040"/>
                </a:solidFill>
                <a:latin typeface="Arial" charset="0"/>
              </a:rPr>
              <a:t>     na mjestima gdje je to potrebno uporni/potporni zidovi.</a:t>
            </a:r>
            <a:endParaRPr lang="hr-HR" altLang="sr-Latn-RS" sz="1600" b="1" dirty="0">
              <a:solidFill>
                <a:srgbClr val="404040"/>
              </a:solidFill>
              <a:latin typeface="Arial" charset="0"/>
            </a:endParaRPr>
          </a:p>
        </p:txBody>
      </p:sp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 dirty="0">
                <a:latin typeface="Arial Narrow" panose="020B0606020202030204" pitchFamily="34" charset="0"/>
              </a:rPr>
              <a:t>Danijela Kosty</a:t>
            </a: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7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-1"/>
            <a:ext cx="6823588" cy="76516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4000" b="1" dirty="0">
                <a:solidFill>
                  <a:srgbClr val="0070C0"/>
                </a:solidFill>
              </a:rPr>
              <a:t>Ciljevi i opseg projekta</a:t>
            </a: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 flipV="1">
            <a:off x="427038" y="765175"/>
            <a:ext cx="6953250" cy="0"/>
          </a:xfrm>
          <a:prstGeom prst="line">
            <a:avLst/>
          </a:prstGeom>
          <a:noFill/>
          <a:ln w="15875">
            <a:solidFill>
              <a:srgbClr val="4F81B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TekstniOkvir 5"/>
          <p:cNvSpPr txBox="1">
            <a:spLocks noChangeArrowheads="1"/>
          </p:cNvSpPr>
          <p:nvPr/>
        </p:nvSpPr>
        <p:spPr bwMode="auto">
          <a:xfrm>
            <a:off x="4427538" y="5013325"/>
            <a:ext cx="7302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hr-HR" altLang="sr-Latn-RS" sz="1800"/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88" y="1296988"/>
            <a:ext cx="1646237" cy="465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7107" y="1217276"/>
            <a:ext cx="823181" cy="8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788" y="5013325"/>
            <a:ext cx="828000" cy="8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514" y="3015000"/>
            <a:ext cx="826862" cy="8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3">
            <a:extLst>
              <a:ext uri="{FF2B5EF4-FFF2-40B4-BE49-F238E27FC236}">
                <a16:creationId xmlns:a16="http://schemas.microsoft.com/office/drawing/2014/main" xmlns="" id="{1AF26717-BECD-4B56-8790-6103F533E6D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245" y="96754"/>
            <a:ext cx="23034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7722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 dirty="0">
                <a:latin typeface="Arial Narrow" panose="020B0606020202030204" pitchFamily="34" charset="0"/>
              </a:rPr>
              <a:t>Danijela Kosty</a:t>
            </a: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8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164199"/>
            <a:ext cx="6953250" cy="67251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4000" b="1" dirty="0">
                <a:solidFill>
                  <a:srgbClr val="0070C0"/>
                </a:solidFill>
              </a:rPr>
              <a:t>Faznost i dozvo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98488" y="1486942"/>
            <a:ext cx="8098656" cy="181588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>
            <a:lvl1pPr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hr-HR" altLang="en-US" dirty="0">
                <a:solidFill>
                  <a:srgbClr val="0070C0"/>
                </a:solidFill>
              </a:rPr>
              <a:t>1. faza </a:t>
            </a:r>
            <a:r>
              <a:rPr lang="hr-HR" altLang="en-US" dirty="0">
                <a:solidFill>
                  <a:srgbClr val="003399"/>
                </a:solidFill>
              </a:rPr>
              <a:t>: </a:t>
            </a:r>
            <a:r>
              <a:rPr lang="hr-HR" altLang="en-US" b="0" dirty="0">
                <a:solidFill>
                  <a:srgbClr val="0070C0"/>
                </a:solidFill>
                <a:latin typeface="Arial" charset="0"/>
              </a:rPr>
              <a:t>I. </a:t>
            </a:r>
            <a:r>
              <a:rPr lang="hr-HR" altLang="en-US" b="0" dirty="0" err="1">
                <a:solidFill>
                  <a:srgbClr val="0070C0"/>
                </a:solidFill>
                <a:latin typeface="Arial" charset="0"/>
              </a:rPr>
              <a:t>poddionica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: kolodvor Zaprešić (</a:t>
            </a:r>
            <a:r>
              <a:rPr lang="hr-HR" altLang="en-US" b="0" dirty="0" err="1">
                <a:solidFill>
                  <a:srgbClr val="404040"/>
                </a:solidFill>
                <a:latin typeface="Arial" charset="0"/>
              </a:rPr>
              <a:t>isklj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.) - kolodvor Novi Dvori (uklj.) ; </a:t>
            </a:r>
          </a:p>
          <a:p>
            <a:pPr algn="just">
              <a:defRPr/>
            </a:pPr>
            <a:r>
              <a:rPr lang="hr-HR" altLang="en-US" dirty="0">
                <a:solidFill>
                  <a:srgbClr val="0070C0"/>
                </a:solidFill>
              </a:rPr>
              <a:t>2. faza </a:t>
            </a:r>
            <a:r>
              <a:rPr lang="hr-HR" altLang="en-US" dirty="0">
                <a:solidFill>
                  <a:srgbClr val="003399"/>
                </a:solidFill>
              </a:rPr>
              <a:t>: </a:t>
            </a:r>
            <a:r>
              <a:rPr lang="hr-HR" altLang="en-US" b="0" dirty="0">
                <a:solidFill>
                  <a:srgbClr val="0070C0"/>
                </a:solidFill>
                <a:latin typeface="Arial" charset="0"/>
              </a:rPr>
              <a:t>II </a:t>
            </a:r>
            <a:r>
              <a:rPr lang="hr-HR" altLang="en-US" b="0" dirty="0" err="1">
                <a:solidFill>
                  <a:srgbClr val="0070C0"/>
                </a:solidFill>
                <a:latin typeface="Arial" charset="0"/>
              </a:rPr>
              <a:t>poddionica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: kolodvor Novi Dvori (isklj.) – kolodvor Luka (uklj.); </a:t>
            </a:r>
          </a:p>
          <a:p>
            <a:pPr>
              <a:defRPr/>
            </a:pPr>
            <a:r>
              <a:rPr lang="hr-HR" altLang="en-US" dirty="0">
                <a:solidFill>
                  <a:srgbClr val="0070C0"/>
                </a:solidFill>
              </a:rPr>
              <a:t>3. faza </a:t>
            </a:r>
            <a:r>
              <a:rPr lang="hr-HR" altLang="en-US" dirty="0">
                <a:solidFill>
                  <a:srgbClr val="003399"/>
                </a:solidFill>
              </a:rPr>
              <a:t>: </a:t>
            </a:r>
            <a:r>
              <a:rPr lang="hr-HR" altLang="en-US" b="0" dirty="0">
                <a:solidFill>
                  <a:srgbClr val="0070C0"/>
                </a:solidFill>
                <a:latin typeface="Arial" charset="0"/>
              </a:rPr>
              <a:t>III </a:t>
            </a:r>
            <a:r>
              <a:rPr lang="hr-HR" altLang="en-US" b="0" dirty="0" err="1">
                <a:solidFill>
                  <a:srgbClr val="0070C0"/>
                </a:solidFill>
                <a:latin typeface="Arial" charset="0"/>
              </a:rPr>
              <a:t>poddionica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: kolodvor Luka (isklj.) – kolodvor  Veliko </a:t>
            </a:r>
            <a:r>
              <a:rPr lang="hr-HR" altLang="en-US" b="0" dirty="0" err="1">
                <a:solidFill>
                  <a:srgbClr val="404040"/>
                </a:solidFill>
                <a:latin typeface="Arial" charset="0"/>
              </a:rPr>
              <a:t>Trgovišće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 (uklj.); </a:t>
            </a:r>
          </a:p>
          <a:p>
            <a:pPr>
              <a:defRPr/>
            </a:pPr>
            <a:r>
              <a:rPr lang="hr-HR" altLang="en-US" dirty="0">
                <a:solidFill>
                  <a:srgbClr val="0070C0"/>
                </a:solidFill>
              </a:rPr>
              <a:t>4. faza </a:t>
            </a:r>
            <a:r>
              <a:rPr lang="hr-HR" altLang="en-US" dirty="0">
                <a:solidFill>
                  <a:srgbClr val="003399"/>
                </a:solidFill>
              </a:rPr>
              <a:t>: </a:t>
            </a:r>
            <a:r>
              <a:rPr lang="hr-HR" altLang="en-US" b="0" dirty="0">
                <a:solidFill>
                  <a:srgbClr val="0070C0"/>
                </a:solidFill>
                <a:latin typeface="Arial" charset="0"/>
              </a:rPr>
              <a:t>IV </a:t>
            </a:r>
            <a:r>
              <a:rPr lang="hr-HR" altLang="en-US" b="0" dirty="0" err="1">
                <a:solidFill>
                  <a:srgbClr val="0070C0"/>
                </a:solidFill>
                <a:latin typeface="Arial" charset="0"/>
              </a:rPr>
              <a:t>poddionica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: kolodvor Veliko Trgovišće (isklj.) – kolodvor Zabok (uklj.)</a:t>
            </a:r>
          </a:p>
          <a:p>
            <a:pPr>
              <a:defRPr/>
            </a:pPr>
            <a:r>
              <a:rPr lang="hr-HR" altLang="en-US" dirty="0">
                <a:solidFill>
                  <a:srgbClr val="0070C0"/>
                </a:solidFill>
              </a:rPr>
              <a:t>5. faza </a:t>
            </a:r>
            <a:r>
              <a:rPr lang="hr-HR" altLang="en-US" dirty="0">
                <a:solidFill>
                  <a:srgbClr val="003399"/>
                </a:solidFill>
              </a:rPr>
              <a:t>: 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Elektrifikacija i ugradnja signalno-sigurnosnih uređaja na pruzi Zaprešić (isklj.) – Zabok 	(uklj.), osiguranje se priključuje na pruge Zabok – Đurmanec – DG, te Hum-Lug – Gornja Stubica </a:t>
            </a:r>
          </a:p>
        </p:txBody>
      </p:sp>
      <p:sp>
        <p:nvSpPr>
          <p:cNvPr id="9" name="TextBox 2"/>
          <p:cNvSpPr txBox="1">
            <a:spLocks noChangeArrowheads="1"/>
          </p:cNvSpPr>
          <p:nvPr/>
        </p:nvSpPr>
        <p:spPr bwMode="auto">
          <a:xfrm>
            <a:off x="323528" y="1000887"/>
            <a:ext cx="791686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 sz="16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16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16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16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16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zahvat se izvodi u slijedećim fazama; svaka faza - zasebna građevinska dozvola</a:t>
            </a:r>
            <a:r>
              <a:rPr lang="hr-HR" altLang="sr-Latn-RS" dirty="0">
                <a:solidFill>
                  <a:srgbClr val="003399"/>
                </a:solidFill>
              </a:rPr>
              <a:t>: </a:t>
            </a:r>
          </a:p>
        </p:txBody>
      </p:sp>
      <p:sp>
        <p:nvSpPr>
          <p:cNvPr id="10" name="TextBox 3"/>
          <p:cNvSpPr txBox="1">
            <a:spLocks noChangeArrowheads="1"/>
          </p:cNvSpPr>
          <p:nvPr/>
        </p:nvSpPr>
        <p:spPr bwMode="auto">
          <a:xfrm>
            <a:off x="612775" y="4769237"/>
            <a:ext cx="79184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1913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hr-HR" altLang="sr-Latn-RS" dirty="0">
                <a:solidFill>
                  <a:srgbClr val="0070C0"/>
                </a:solidFill>
              </a:rPr>
              <a:t>6.faza</a:t>
            </a:r>
            <a:r>
              <a:rPr lang="hr-HR" altLang="sr-Latn-RS" dirty="0">
                <a:solidFill>
                  <a:srgbClr val="003399"/>
                </a:solidFill>
              </a:rPr>
              <a:t>:   </a:t>
            </a: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izgradnja objekata za zaštitu buke – </a:t>
            </a:r>
            <a:r>
              <a:rPr lang="hr-HR" altLang="sr-Latn-RS" dirty="0">
                <a:solidFill>
                  <a:srgbClr val="0070C0"/>
                </a:solidFill>
                <a:latin typeface="Arial" charset="0"/>
              </a:rPr>
              <a:t>opcionalna građevinska dozvola    	   </a:t>
            </a: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ukoliko mjerenja buke na kritičnim mjestima određenim SUO i Elaboratom  	   zaštite od buke pokažu da je potrebna izgradnja objekata za zaštitu od buke</a:t>
            </a:r>
          </a:p>
        </p:txBody>
      </p:sp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321940" y="3576860"/>
            <a:ext cx="79184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36688" algn="l"/>
              </a:tabLst>
              <a:defRPr sz="16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algn="just">
              <a:buFont typeface="Wingdings" panose="05000000000000000000" pitchFamily="2" charset="2"/>
              <a:buChar char="Ø"/>
            </a:pPr>
            <a:r>
              <a:rPr lang="hr-HR" altLang="sr-Latn-RS" b="0" dirty="0">
                <a:solidFill>
                  <a:srgbClr val="0070C0"/>
                </a:solidFill>
                <a:latin typeface="Arial" charset="0"/>
              </a:rPr>
              <a:t>prvih 5 faza </a:t>
            </a: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- </a:t>
            </a:r>
            <a:r>
              <a:rPr lang="hr-HR" altLang="sr-Latn-RS" dirty="0">
                <a:solidFill>
                  <a:srgbClr val="0070C0"/>
                </a:solidFill>
                <a:latin typeface="Arial" charset="0"/>
              </a:rPr>
              <a:t>jedna uporabna dozvola </a:t>
            </a:r>
            <a:r>
              <a:rPr lang="hr-HR" altLang="sr-Latn-RS" b="0" dirty="0">
                <a:solidFill>
                  <a:srgbClr val="404040"/>
                </a:solidFill>
                <a:latin typeface="Arial" charset="0"/>
              </a:rPr>
              <a:t>koja će biti izdana s ograničenjem povećanja brzine ukoliko probna mjerenja buke pokažu da je potrebno izgraditi objekte za zaštitu buke</a:t>
            </a:r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xmlns="" id="{6FA00040-8957-4B6E-B8CE-344C4129710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87388" y="836712"/>
            <a:ext cx="6953250" cy="0"/>
          </a:xfrm>
          <a:prstGeom prst="line">
            <a:avLst/>
          </a:prstGeom>
          <a:noFill/>
          <a:ln w="15875">
            <a:solidFill>
              <a:srgbClr val="4F81B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3" name="Picture 13">
            <a:extLst>
              <a:ext uri="{FF2B5EF4-FFF2-40B4-BE49-F238E27FC236}">
                <a16:creationId xmlns:a16="http://schemas.microsoft.com/office/drawing/2014/main" xmlns="" id="{DAAACA2E-926C-441C-96DF-826B5E1EA5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245" y="96754"/>
            <a:ext cx="23034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808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 dirty="0">
                <a:latin typeface="Arial Narrow" panose="020B0606020202030204" pitchFamily="34" charset="0"/>
              </a:rPr>
              <a:t>Danijela Kosty</a:t>
            </a: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9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164198"/>
            <a:ext cx="7200800" cy="6009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r-HR" altLang="sr-Latn-RS" sz="4000" b="1" dirty="0">
                <a:solidFill>
                  <a:srgbClr val="0070C0"/>
                </a:solidFill>
              </a:rPr>
              <a:t>Dinamika izvođenja radova</a:t>
            </a:r>
          </a:p>
        </p:txBody>
      </p:sp>
      <p:sp>
        <p:nvSpPr>
          <p:cNvPr id="12" name="TextBox 2"/>
          <p:cNvSpPr txBox="1">
            <a:spLocks noChangeArrowheads="1"/>
          </p:cNvSpPr>
          <p:nvPr/>
        </p:nvSpPr>
        <p:spPr bwMode="auto">
          <a:xfrm>
            <a:off x="250825" y="836712"/>
            <a:ext cx="8785225" cy="4862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16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16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16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16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Trajanje radova  </a:t>
            </a:r>
            <a:r>
              <a:rPr lang="hr-HR" altLang="en-US" dirty="0">
                <a:solidFill>
                  <a:srgbClr val="0070C0"/>
                </a:solidFill>
                <a:latin typeface="Arial" charset="0"/>
              </a:rPr>
              <a:t>36 mjeseci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, a radovi se izvode </a:t>
            </a:r>
            <a:r>
              <a:rPr lang="hr-HR" altLang="en-US" dirty="0">
                <a:solidFill>
                  <a:srgbClr val="0070C0"/>
                </a:solidFill>
                <a:latin typeface="Arial" charset="0"/>
              </a:rPr>
              <a:t>u 4 etape</a:t>
            </a:r>
            <a:r>
              <a:rPr lang="hr-HR" altLang="en-US" b="0" dirty="0">
                <a:solidFill>
                  <a:srgbClr val="404040"/>
                </a:solidFill>
                <a:latin typeface="Arial" charset="0"/>
              </a:rPr>
              <a:t>:</a:t>
            </a:r>
          </a:p>
          <a:p>
            <a:pPr algn="just"/>
            <a:endParaRPr lang="hr-HR" altLang="en-US" sz="1400" b="0" dirty="0">
              <a:solidFill>
                <a:srgbClr val="404040"/>
              </a:solidFill>
              <a:latin typeface="Arial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1. etapa </a:t>
            </a:r>
            <a:r>
              <a:rPr lang="hr-HR" altLang="en-US" sz="1400" dirty="0">
                <a:solidFill>
                  <a:srgbClr val="0070C0"/>
                </a:solidFill>
                <a:latin typeface="Arial" charset="0"/>
              </a:rPr>
              <a:t>- pripremni radovi </a:t>
            </a: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– do 31.03.2019. promet se odvijao nesmetano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 	 - priprema gradilišnog prostora, dostava materijal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donji ustroj i objekti na dionicama devijacija (izgradnja željezničkog mosta 	  	   	   </a:t>
            </a:r>
            <a:r>
              <a:rPr lang="hr-HR" altLang="en-US" sz="1400" b="0" dirty="0" err="1">
                <a:solidFill>
                  <a:srgbClr val="404040"/>
                </a:solidFill>
                <a:latin typeface="Arial" charset="0"/>
              </a:rPr>
              <a:t>Vučerna</a:t>
            </a: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 na II. poddionici, izgradnja cestovnog mosta Horvacka na IV. poddionici)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proširenje nasipa, izgradnja cesta, objekata na cesti i pristupnih putev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izrada privremenih uređenih površina i staza za komunikaciju u kolodvoru Zabok,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  priprema terena za teretni dio kolodvora Zabok, rušenje skladišta 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rekonstrukcija svih zgrada u dijelu za smještaj SS i TK uređaj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 </a:t>
            </a:r>
            <a:r>
              <a:rPr lang="hr-HR" altLang="en-US" sz="1400" b="0" dirty="0" err="1">
                <a:solidFill>
                  <a:srgbClr val="404040"/>
                </a:solidFill>
                <a:latin typeface="Arial" charset="0"/>
              </a:rPr>
              <a:t>izmještanje</a:t>
            </a: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 postojećih instalacij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 rekonstrukcija postrojenja za sekcioniranje s bočnim vodom PS2+1BV u Zaprešiću </a:t>
            </a:r>
          </a:p>
          <a:p>
            <a:pPr algn="just"/>
            <a:endParaRPr lang="hr-HR" altLang="en-US" sz="1400" b="0" dirty="0">
              <a:solidFill>
                <a:srgbClr val="404040"/>
              </a:solidFill>
              <a:latin typeface="Arial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2. etapa - </a:t>
            </a:r>
            <a:r>
              <a:rPr lang="hr-HR" altLang="en-US" sz="1400" dirty="0">
                <a:solidFill>
                  <a:srgbClr val="0070C0"/>
                </a:solidFill>
                <a:latin typeface="Arial" charset="0"/>
              </a:rPr>
              <a:t>permanentni zatvor pruge </a:t>
            </a: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– od 01.04.2019. radovi na cijeloj pružnoj dionici </a:t>
            </a:r>
            <a:r>
              <a:rPr lang="hr-HR" altLang="en-US" sz="1400" b="0" dirty="0">
                <a:solidFill>
                  <a:srgbClr val="0070C0"/>
                </a:solidFill>
                <a:latin typeface="Arial" charset="0"/>
              </a:rPr>
              <a:t>6 mjeseci </a:t>
            </a:r>
          </a:p>
          <a:p>
            <a:pPr algn="just"/>
            <a:r>
              <a:rPr lang="hr-HR" altLang="en-US" sz="1400" b="0" dirty="0">
                <a:solidFill>
                  <a:srgbClr val="0070C0"/>
                </a:solidFill>
                <a:latin typeface="Arial" charset="0"/>
              </a:rPr>
              <a:t>	 - </a:t>
            </a: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putnici se prevoze </a:t>
            </a:r>
            <a:r>
              <a:rPr lang="hr-HR" altLang="en-US" sz="1400" b="0" dirty="0">
                <a:solidFill>
                  <a:srgbClr val="0070C0"/>
                </a:solidFill>
                <a:latin typeface="Arial" charset="0"/>
              </a:rPr>
              <a:t>supstitucijskim prijevozom </a:t>
            </a: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- autobusim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</a:t>
            </a:r>
            <a:r>
              <a:rPr lang="hr-HR" altLang="en-US" sz="1400" b="0" dirty="0">
                <a:solidFill>
                  <a:srgbClr val="0070C0"/>
                </a:solidFill>
                <a:latin typeface="Arial" charset="0"/>
              </a:rPr>
              <a:t>svi objekti </a:t>
            </a:r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(4 pothodnika, 3 mosta, propusti)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sanacija nasipa šljunčanim stupovim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ugradnja gornjeg ustroja na dionicama rekonstrukcije, regulacija kolosijek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radovi na donjem i gornjem ustroju, odvodnj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križanja infrastrukturnih vodova i kabela, odvodnja duž dionice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dogradnja kolosijeka i skretnica u kolodvorima i stajalištima, drenaže u kolodvorima</a:t>
            </a:r>
          </a:p>
          <a:p>
            <a:pPr algn="just"/>
            <a:r>
              <a:rPr lang="hr-HR" altLang="en-US" sz="1400" b="0" dirty="0">
                <a:solidFill>
                  <a:srgbClr val="404040"/>
                </a:solidFill>
                <a:latin typeface="Arial" charset="0"/>
              </a:rPr>
              <a:t>	 - kabliranje, izgradnja nosivih konstrukcija KM-a, kućica APB-a i ŽCP-a</a:t>
            </a:r>
          </a:p>
        </p:txBody>
      </p:sp>
      <p:sp>
        <p:nvSpPr>
          <p:cNvPr id="7" name="Line 9">
            <a:extLst>
              <a:ext uri="{FF2B5EF4-FFF2-40B4-BE49-F238E27FC236}">
                <a16:creationId xmlns:a16="http://schemas.microsoft.com/office/drawing/2014/main" xmlns="" id="{3D8CA373-366A-4D22-A96E-71EC769B14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7038" y="765175"/>
            <a:ext cx="6953250" cy="0"/>
          </a:xfrm>
          <a:prstGeom prst="line">
            <a:avLst/>
          </a:prstGeom>
          <a:noFill/>
          <a:ln w="15875">
            <a:solidFill>
              <a:srgbClr val="4F81B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8" name="Picture 13">
            <a:extLst>
              <a:ext uri="{FF2B5EF4-FFF2-40B4-BE49-F238E27FC236}">
                <a16:creationId xmlns:a16="http://schemas.microsoft.com/office/drawing/2014/main" xmlns="" id="{0344848B-4187-4412-827E-6F789B8F2A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245" y="96754"/>
            <a:ext cx="23034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9192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9.;10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1.;1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9.;10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1.;12.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0</Words>
  <Application>Microsoft Office PowerPoint</Application>
  <PresentationFormat>On-screen Show (4:3)</PresentationFormat>
  <Paragraphs>302</Paragraphs>
  <Slides>4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46</vt:i4>
      </vt:variant>
    </vt:vector>
  </HeadingPairs>
  <TitlesOfParts>
    <vt:vector size="58" baseType="lpstr">
      <vt:lpstr>Arial</vt:lpstr>
      <vt:lpstr>Arial Narrow</vt:lpstr>
      <vt:lpstr>Calibri</vt:lpstr>
      <vt:lpstr>DB Office</vt:lpstr>
      <vt:lpstr>Symbol</vt:lpstr>
      <vt:lpstr>Times New Roman</vt:lpstr>
      <vt:lpstr>Verdana</vt:lpstr>
      <vt:lpstr>Wingdings</vt:lpstr>
      <vt:lpstr>Office Theme</vt:lpstr>
      <vt:lpstr>think-cell Folie</vt:lpstr>
      <vt:lpstr>AutoCAD.Drawing.18</vt:lpstr>
      <vt:lpstr>AutoCAD.Drawing.20</vt:lpstr>
      <vt:lpstr>Modernizacija pruge na dionici Zaprešić - Zabok</vt:lpstr>
      <vt:lpstr>PowerPoint Presentation</vt:lpstr>
      <vt:lpstr>Osnovni podaci o dionici</vt:lpstr>
      <vt:lpstr>Razlozi dugotrajnosti pripreme projekta </vt:lpstr>
      <vt:lpstr>Financijski podaci</vt:lpstr>
      <vt:lpstr>Ciljevi i opseg projekta</vt:lpstr>
      <vt:lpstr>Ciljevi i opseg projekta</vt:lpstr>
      <vt:lpstr>Faznost i dozvole</vt:lpstr>
      <vt:lpstr>Dinamika izvođenja radova</vt:lpstr>
      <vt:lpstr>Dinamika izvođenja radova</vt:lpstr>
      <vt:lpstr>PowerPoint Presentation</vt:lpstr>
      <vt:lpstr>Sudionici u provedbi ovog projekta </vt:lpstr>
      <vt:lpstr>Međusobni odnosi između dionika</vt:lpstr>
      <vt:lpstr>Ugovorne obveze Inženjera</vt:lpstr>
      <vt:lpstr>Organizacijska shema Inženjera</vt:lpstr>
      <vt:lpstr>PowerPoint Presentation</vt:lpstr>
      <vt:lpstr>Tehnička i projektantska pitanja</vt:lpstr>
      <vt:lpstr>Kontrola kvalitete</vt:lpstr>
      <vt:lpstr>Administrativni postupci </vt:lpstr>
      <vt:lpstr>SharePoint</vt:lpstr>
      <vt:lpstr>Kolodvor Novi Dvori</vt:lpstr>
      <vt:lpstr>Kolodvor Novi Dvori</vt:lpstr>
      <vt:lpstr>Kolodvor Novi Dvori</vt:lpstr>
      <vt:lpstr>Kolodvor Veliko Trgovišće</vt:lpstr>
      <vt:lpstr>Kolodvor Zabok</vt:lpstr>
      <vt:lpstr>Kolodvor Zabok</vt:lpstr>
      <vt:lpstr>Radovi na gornjem ustroju</vt:lpstr>
      <vt:lpstr>Radovi na gornjem ustroju</vt:lpstr>
      <vt:lpstr>Radovi na gornjem ustroju</vt:lpstr>
      <vt:lpstr>Radovi na donjem ustroju</vt:lpstr>
      <vt:lpstr>PowerPoint Presentation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Problematika vezana za geotehničke radove</vt:lpstr>
      <vt:lpstr>HVALA NA PAŽNJI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erislav Rupčić</dc:creator>
  <cp:lastModifiedBy>Lenovo G50-2</cp:lastModifiedBy>
  <cp:revision>102</cp:revision>
  <dcterms:created xsi:type="dcterms:W3CDTF">2010-03-22T21:50:27Z</dcterms:created>
  <dcterms:modified xsi:type="dcterms:W3CDTF">2019-06-13T15:19:51Z</dcterms:modified>
</cp:coreProperties>
</file>